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21" r:id="rId2"/>
    <p:sldId id="322" r:id="rId3"/>
    <p:sldId id="313" r:id="rId4"/>
    <p:sldId id="326" r:id="rId5"/>
    <p:sldId id="325" r:id="rId6"/>
    <p:sldId id="324" r:id="rId7"/>
    <p:sldId id="323" r:id="rId8"/>
    <p:sldId id="320" r:id="rId9"/>
  </p:sldIdLst>
  <p:sldSz cx="9144000" cy="5143500" type="screen16x9"/>
  <p:notesSz cx="6669088" cy="9872663"/>
  <p:custDataLst>
    <p:tags r:id="rId12"/>
  </p:custDataLst>
  <p:defaultTextStyle>
    <a:defPPr>
      <a:defRPr lang="nl-NL"/>
    </a:defPPr>
    <a:lvl1pPr marL="0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99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999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998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997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997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997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995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995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B92DB"/>
    <a:srgbClr val="5E2D61"/>
    <a:srgbClr val="949D9E"/>
    <a:srgbClr val="FF4D00"/>
    <a:srgbClr val="FF4900"/>
    <a:srgbClr val="FF8000"/>
    <a:srgbClr val="FF3300"/>
    <a:srgbClr val="FF6600"/>
    <a:srgbClr val="FFFFFF"/>
    <a:srgbClr val="EAEAE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ijl, gemiddeld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ijl, donker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DCAF9ED-07DC-4A11-8D7F-57B35C25682E}" styleName="Stijl, gemiddeld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Stijl, licht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E9639D4-E3E2-4D34-9284-5A2195B3D0D7}" styleName="Stijl, lich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Stijl, licht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16DA210-FB5B-4158-B5E0-FEB733F419BA}" styleName="Stijl, lich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Stijl, licht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ijl, licht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ijl, licht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ijl, licht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E8B1032C-EA38-4F05-BA0D-38AFFFC7BED3}" styleName="Stijl, licht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84E427A-3D55-4303-BF80-6455036E1DE7}" styleName="Stijl, thema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Stijl, thema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113A9D2-9D6B-4929-AA2D-F23B5EE8CBE7}" styleName="Stijl, thema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Stijl, thema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27102A9-8310-4765-A935-A1911B00CA55}" styleName="Stijl, licht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DA37D80-6434-44D0-A028-1B22A696006F}" styleName="Stijl, licht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ijl, gemiddeld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DBED569-4797-4DF1-A0F4-6AAB3CD982D8}" styleName="Stijl, licht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93D81CF-94F2-401A-BA57-92F5A7B2D0C5}" styleName="Stijl, gemiddeld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Stijl, donker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2C8C85-51F0-491E-9774-3900AFEF0FD7}" styleName="Stijl, licht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74" autoAdjust="0"/>
    <p:restoredTop sz="90764" autoAdjust="0"/>
  </p:normalViewPr>
  <p:slideViewPr>
    <p:cSldViewPr snapToGrid="0" snapToObjects="1">
      <p:cViewPr>
        <p:scale>
          <a:sx n="70" d="100"/>
          <a:sy n="70" d="100"/>
        </p:scale>
        <p:origin x="-1392" y="-540"/>
      </p:cViewPr>
      <p:guideLst>
        <p:guide orient="horz" pos="3002"/>
        <p:guide orient="horz" pos="586"/>
        <p:guide orient="horz" pos="822"/>
        <p:guide pos="2885"/>
        <p:guide pos="294"/>
        <p:guide pos="53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123" d="100"/>
          <a:sy n="123" d="100"/>
        </p:scale>
        <p:origin x="-4344" y="-120"/>
      </p:cViewPr>
      <p:guideLst>
        <p:guide orient="horz" pos="3110"/>
        <p:guide pos="21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76972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b="1">
              <a:latin typeface="Corbel"/>
              <a:cs typeface="Corbel"/>
            </a:endParaRP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5224762" y="0"/>
            <a:ext cx="1442783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FF1D61-6A12-B148-B795-5CBE2F827FD7}" type="datetime3">
              <a:rPr lang="nl-NL">
                <a:latin typeface="Corbel"/>
                <a:cs typeface="Corbel"/>
              </a:rPr>
              <a:pPr/>
              <a:t>18/11/15</a:t>
            </a:fld>
            <a:endParaRPr lang="nl-NL">
              <a:latin typeface="Corbel"/>
              <a:cs typeface="Corbel"/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558228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>
              <a:latin typeface="Corbel"/>
              <a:cs typeface="Corbel"/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5923563" y="9377316"/>
            <a:ext cx="743981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E047AC-04BA-824E-9526-AEF0380CB1CE}" type="slidenum">
              <a:rPr>
                <a:latin typeface="Corbel"/>
                <a:cs typeface="Corbel"/>
              </a:rPr>
              <a:pPr/>
              <a:t>‹nr.›</a:t>
            </a:fld>
            <a:endParaRPr lang="nl-NL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18190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4919614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1" i="0">
                <a:latin typeface="Corbel"/>
                <a:cs typeface="Corbel"/>
              </a:defRPr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5210774" y="0"/>
            <a:ext cx="1456771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rbel"/>
                <a:cs typeface="Corbel"/>
              </a:defRPr>
            </a:lvl1pPr>
          </a:lstStyle>
          <a:p>
            <a:fld id="{301EDAA2-3DF6-7940-91E3-A225DE787136}" type="datetime3">
              <a:rPr/>
              <a:pPr/>
              <a:t>18/11/1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863" y="739775"/>
            <a:ext cx="6583362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66909" y="4689515"/>
            <a:ext cx="533527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Klik om de tekststijl van het model te bewerken</a:t>
            </a:r>
          </a:p>
          <a:p>
            <a:pPr lvl="1"/>
            <a:r>
              <a:rPr lang="en-US"/>
              <a:t>Tweede niveau</a:t>
            </a:r>
          </a:p>
          <a:p>
            <a:pPr lvl="2"/>
            <a:r>
              <a:rPr lang="en-US"/>
              <a:t>Derde niveau</a:t>
            </a:r>
          </a:p>
          <a:p>
            <a:pPr lvl="3"/>
            <a:r>
              <a:rPr lang="en-US"/>
              <a:t>Vierde niveau</a:t>
            </a:r>
          </a:p>
          <a:p>
            <a:pPr lvl="4"/>
            <a:r>
              <a:rPr lang="en-US"/>
              <a:t>Vijfde niveau</a:t>
            </a:r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5557573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rbel"/>
                <a:cs typeface="Corbel"/>
              </a:defRPr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5903537" y="9377316"/>
            <a:ext cx="76400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rbel"/>
                <a:cs typeface="Corbel"/>
              </a:defRPr>
            </a:lvl1pPr>
          </a:lstStyle>
          <a:p>
            <a:fld id="{1CB5D99F-C216-8C4C-B398-F06F7517D80F}" type="slidenum">
              <a:rPr lang="nl-NL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328618843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lnSpc>
        <a:spcPct val="100000"/>
      </a:lnSpc>
      <a:defRPr sz="1200" kern="1200">
        <a:solidFill>
          <a:schemeClr val="tx1"/>
        </a:solidFill>
        <a:latin typeface="Corbel"/>
        <a:ea typeface="+mn-ea"/>
        <a:cs typeface="Corbel"/>
      </a:defRPr>
    </a:lvl1pPr>
    <a:lvl2pPr marL="176213" indent="-176213" algn="l" defTabSz="457200" rtl="0" eaLnBrk="1" latinLnBrk="0" hangingPunct="1">
      <a:lnSpc>
        <a:spcPct val="100000"/>
      </a:lnSpc>
      <a:buFont typeface="Arial"/>
      <a:buChar char="•"/>
      <a:defRPr sz="1200" kern="1200">
        <a:solidFill>
          <a:schemeClr val="tx1"/>
        </a:solidFill>
        <a:latin typeface="Corbel"/>
        <a:ea typeface="+mn-ea"/>
        <a:cs typeface="Corbel"/>
      </a:defRPr>
    </a:lvl2pPr>
    <a:lvl3pPr marL="361950" indent="-185738" algn="l" defTabSz="457200" rtl="0" eaLnBrk="1" latinLnBrk="0" hangingPunct="1">
      <a:lnSpc>
        <a:spcPct val="100000"/>
      </a:lnSpc>
      <a:buFont typeface="Arial"/>
      <a:buChar char="•"/>
      <a:defRPr sz="1100" kern="1200">
        <a:solidFill>
          <a:schemeClr val="tx1"/>
        </a:solidFill>
        <a:latin typeface="Corbel"/>
        <a:ea typeface="+mn-ea"/>
        <a:cs typeface="Corbel"/>
      </a:defRPr>
    </a:lvl3pPr>
    <a:lvl4pPr marL="536575" indent="-174625" algn="l" defTabSz="457200" rtl="0" eaLnBrk="1" latinLnBrk="0" hangingPunct="1">
      <a:lnSpc>
        <a:spcPct val="100000"/>
      </a:lnSpc>
      <a:buFont typeface="Arial"/>
      <a:buChar char="•"/>
      <a:defRPr sz="1000" kern="1200">
        <a:solidFill>
          <a:schemeClr val="tx1"/>
        </a:solidFill>
        <a:latin typeface="Corbel"/>
        <a:ea typeface="+mn-ea"/>
        <a:cs typeface="Corbel"/>
      </a:defRPr>
    </a:lvl4pPr>
    <a:lvl5pPr marL="712788" indent="-176213" algn="l" defTabSz="457200" rtl="0" eaLnBrk="1" latinLnBrk="0" hangingPunct="1">
      <a:lnSpc>
        <a:spcPct val="100000"/>
      </a:lnSpc>
      <a:buFont typeface="Arial"/>
      <a:buChar char="•"/>
      <a:defRPr sz="1000" kern="1200">
        <a:solidFill>
          <a:schemeClr val="tx1"/>
        </a:solidFill>
        <a:latin typeface="Corbel"/>
        <a:ea typeface="+mn-ea"/>
        <a:cs typeface="Corbel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3" y="739775"/>
            <a:ext cx="6583362" cy="3703638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5D99F-C216-8C4C-B398-F06F7517D80F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2588115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863" y="739775"/>
            <a:ext cx="6583362" cy="37036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dirty="0" smtClean="0">
              <a:latin typeface="Corbel" pitchFamily="34" charset="0"/>
              <a:ea typeface="Corbel" pitchFamily="34" charset="0"/>
              <a:cs typeface="Corbel" pitchFamily="34" charset="0"/>
            </a:endParaRPr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463236A4-90C0-414C-9569-DDF9079F311E}" type="slidenum">
              <a:rPr lang="en-GB" altLang="nl-NL" smtClean="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3</a:t>
            </a:fld>
            <a:endParaRPr lang="en-GB" altLang="nl-NL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3" y="739775"/>
            <a:ext cx="6583362" cy="3703638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520">
              <a:lnSpc>
                <a:spcPct val="140000"/>
              </a:lnSpc>
              <a:defRPr/>
            </a:pPr>
            <a:endParaRPr lang="nl-NL" alt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5D99F-C216-8C4C-B398-F06F7517D80F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31148736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3" y="739775"/>
            <a:ext cx="6583362" cy="3703638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nl-NL" sz="1200" b="0" i="0" kern="1200" dirty="0" smtClean="0">
              <a:solidFill>
                <a:schemeClr val="tx1"/>
              </a:solidFill>
              <a:effectLst/>
              <a:latin typeface="Corbel"/>
              <a:ea typeface="+mn-ea"/>
              <a:cs typeface="Corbel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5D99F-C216-8C4C-B398-F06F7517D80F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2766252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798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30000"/>
              </a:spcBef>
              <a:defRPr sz="1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30000"/>
              </a:spcBef>
              <a:defRPr sz="1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30000"/>
              </a:spcBef>
              <a:defRPr sz="1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30000"/>
              </a:spcBef>
              <a:defRPr sz="1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64425049-2167-4EC9-A049-9F3F8DA1D6CF}" type="slidenum">
              <a:rPr lang="en-GB" altLang="en-US">
                <a:latin typeface="Verdana" pitchFamily="34" charset="0"/>
              </a:rPr>
              <a:pPr>
                <a:spcBef>
                  <a:spcPct val="0"/>
                </a:spcBef>
              </a:pPr>
              <a:t>7</a:t>
            </a:fld>
            <a:endParaRPr lang="en-GB" altLang="en-US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2863" y="739775"/>
            <a:ext cx="6583362" cy="3703638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5D99F-C216-8C4C-B398-F06F7517D80F}" type="slidenum">
              <a:rPr lang="nl-NL" smtClean="0"/>
              <a:pPr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2588115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4285"/>
            <a:ext cx="9149638" cy="3406776"/>
          </a:xfrm>
          <a:solidFill>
            <a:srgbClr val="EAEAEA"/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nl-NL" dirty="0" smtClean="0"/>
              <a:t>Laad foto in en plaats deze naar Achtergrond.</a:t>
            </a:r>
            <a:br>
              <a:rPr lang="nl-NL" dirty="0" smtClean="0"/>
            </a:br>
            <a:r>
              <a:rPr lang="nl-NL" dirty="0" smtClean="0"/>
              <a:t>(Foto wordt automatisch gecentreerd binnen dit vlak)</a:t>
            </a:r>
            <a:endParaRPr lang="en-US" dirty="0"/>
          </a:p>
        </p:txBody>
      </p:sp>
      <p:sp>
        <p:nvSpPr>
          <p:cNvPr id="3" name="Subtitel 2"/>
          <p:cNvSpPr>
            <a:spLocks noGrp="1"/>
          </p:cNvSpPr>
          <p:nvPr>
            <p:ph type="subTitle" idx="1" hasCustomPrompt="1"/>
          </p:nvPr>
        </p:nvSpPr>
        <p:spPr>
          <a:xfrm>
            <a:off x="1920875" y="3428327"/>
            <a:ext cx="4166260" cy="474109"/>
          </a:xfrm>
          <a:prstGeom prst="roundRect">
            <a:avLst>
              <a:gd name="adj" fmla="val 21895"/>
            </a:avLst>
          </a:prstGeom>
          <a:gradFill flip="none" rotWithShape="0">
            <a:gsLst>
              <a:gs pos="0">
                <a:srgbClr val="FF8000"/>
              </a:gs>
              <a:gs pos="94000">
                <a:srgbClr val="FF4D00"/>
              </a:gs>
            </a:gsLst>
            <a:lin ang="1320000" scaled="0"/>
            <a:tileRect/>
          </a:gra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108000" bIns="54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marL="0" indent="0" algn="l" defTabSz="4569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2000" b="1" i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6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Klik</a:t>
            </a:r>
            <a:r>
              <a:rPr lang="en-US" dirty="0" smtClean="0"/>
              <a:t> </a:t>
            </a:r>
            <a:r>
              <a:rPr lang="en-US" dirty="0" err="1" smtClean="0"/>
              <a:t>om</a:t>
            </a:r>
            <a:r>
              <a:rPr lang="en-US" dirty="0" smtClean="0"/>
              <a:t> </a:t>
            </a:r>
            <a:r>
              <a:rPr lang="en-US" dirty="0" err="1" smtClean="0"/>
              <a:t>een</a:t>
            </a:r>
            <a:r>
              <a:rPr lang="en-US" dirty="0" smtClean="0"/>
              <a:t> </a:t>
            </a:r>
            <a:r>
              <a:rPr lang="en-US" dirty="0" err="1" smtClean="0"/>
              <a:t>subtitel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maken</a:t>
            </a:r>
            <a:endParaRPr lang="nl-NL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1943997" y="4507589"/>
            <a:ext cx="4068003" cy="349702"/>
          </a:xfrm>
          <a:prstGeom prst="rect">
            <a:avLst/>
          </a:prstGeom>
        </p:spPr>
        <p:txBody>
          <a:bodyPr wrap="square" lIns="144000" tIns="36000" rIns="144000" bIns="36000" anchor="b">
            <a:spAutoFit/>
          </a:bodyPr>
          <a:lstStyle>
            <a:lvl1pPr marL="0" indent="0">
              <a:spcBef>
                <a:spcPts val="0"/>
              </a:spcBef>
              <a:buNone/>
              <a:defRPr sz="18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Myriad Pro" pitchFamily="34" charset="0"/>
              </a:defRPr>
            </a:lvl1pPr>
          </a:lstStyle>
          <a:p>
            <a:pPr lvl="0"/>
            <a:r>
              <a:rPr lang="en-US" dirty="0" err="1" smtClean="0"/>
              <a:t>Naam</a:t>
            </a:r>
            <a:r>
              <a:rPr lang="en-US" dirty="0" smtClean="0"/>
              <a:t> </a:t>
            </a:r>
            <a:r>
              <a:rPr lang="en-US" dirty="0" err="1" smtClean="0"/>
              <a:t>spreker</a:t>
            </a:r>
            <a:r>
              <a:rPr lang="en-US" dirty="0" smtClean="0"/>
              <a:t>  –  Datum</a:t>
            </a:r>
          </a:p>
        </p:txBody>
      </p:sp>
      <p:sp>
        <p:nvSpPr>
          <p:cNvPr id="13" name="Rechthoek 12"/>
          <p:cNvSpPr/>
          <p:nvPr userDrawn="1"/>
        </p:nvSpPr>
        <p:spPr>
          <a:xfrm>
            <a:off x="5892801" y="3302973"/>
            <a:ext cx="194334" cy="409137"/>
          </a:xfrm>
          <a:prstGeom prst="rect">
            <a:avLst/>
          </a:prstGeom>
          <a:solidFill>
            <a:srgbClr val="FF4D00"/>
          </a:solidFill>
          <a:ln w="190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36000" rIns="9144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>
          <a:xfrm>
            <a:off x="-57149" y="2141521"/>
            <a:ext cx="6151950" cy="1279066"/>
          </a:xfrm>
          <a:prstGeom prst="round1Rect">
            <a:avLst>
              <a:gd name="adj" fmla="val 11967"/>
            </a:avLst>
          </a:prstGeom>
          <a:solidFill>
            <a:schemeClr val="accent1"/>
          </a:solidFill>
          <a:ln w="19050" cmpd="sng">
            <a:solidFill>
              <a:schemeClr val="bg1"/>
            </a:solidFill>
          </a:ln>
        </p:spPr>
        <p:txBody>
          <a:bodyPr wrap="square" lIns="504000" tIns="126000" rIns="108000" bIns="144000" anchor="b">
            <a:spAutoFit/>
          </a:bodyPr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/>
            </a:r>
            <a:br>
              <a:rPr lang="en-US" dirty="0"/>
            </a:br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om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titel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maken</a:t>
            </a:r>
            <a:endParaRPr lang="nl-NL" dirty="0"/>
          </a:p>
        </p:txBody>
      </p:sp>
      <p:pic>
        <p:nvPicPr>
          <p:cNvPr id="9" name="Afbeelding 9" descr="RB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41538" y="3835989"/>
            <a:ext cx="896774" cy="1073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47659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 userDrawn="1"/>
        </p:nvSpPr>
        <p:spPr>
          <a:xfrm>
            <a:off x="7703818" y="4158802"/>
            <a:ext cx="1153160" cy="394596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46800" rIns="0" bIns="468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 lang="nl-NL"/>
              <a:pPr/>
              <a:t>‹nr.›</a:t>
            </a:fld>
            <a:endParaRPr lang="nl-NL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75814" y="1777271"/>
            <a:ext cx="7804586" cy="564257"/>
          </a:xfrm>
          <a:effectLst/>
        </p:spPr>
        <p:txBody>
          <a:bodyPr anchor="b">
            <a:spAutoFit/>
          </a:bodyPr>
          <a:lstStyle>
            <a:lvl1pPr>
              <a:defRPr sz="4000" b="0" i="0">
                <a:solidFill>
                  <a:schemeClr val="accent2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om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titel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maken</a:t>
            </a:r>
            <a:endParaRPr lang="nl-NL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430031"/>
            <a:ext cx="7778749" cy="461665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l-NL" dirty="0"/>
              <a:t>Klik om een subtitel te maken</a:t>
            </a:r>
          </a:p>
        </p:txBody>
      </p:sp>
      <p:sp>
        <p:nvSpPr>
          <p:cNvPr id="7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8927565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ussendia met groot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9638" cy="5143500"/>
          </a:xfrm>
          <a:noFill/>
        </p:spPr>
        <p:txBody>
          <a:bodyPr/>
          <a:lstStyle>
            <a:lvl1pPr marL="0" indent="0" algn="ctr">
              <a:buFont typeface="Arial"/>
              <a:buNone/>
              <a:defRPr sz="1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nl-NL" dirty="0" smtClean="0"/>
              <a:t>Laad foto in en plaats deze naar Achtergrond.</a:t>
            </a:r>
            <a:br>
              <a:rPr lang="nl-NL" dirty="0" smtClean="0"/>
            </a:br>
            <a:r>
              <a:rPr lang="nl-NL" dirty="0" smtClean="0"/>
              <a:t> (Foto wordt automatisch gecentreerd binnen dit vlak, het Rabobank beeldmerk wordt automatisch afgedekt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814" y="1436845"/>
            <a:ext cx="7804586" cy="564257"/>
          </a:xfrm>
          <a:effectLst>
            <a:outerShdw blurRad="63500" dist="25400" dir="5400000" algn="tl" rotWithShape="0">
              <a:schemeClr val="tx1">
                <a:lumMod val="50000"/>
                <a:lumOff val="50000"/>
                <a:alpha val="60000"/>
              </a:schemeClr>
            </a:outerShdw>
          </a:effectLst>
        </p:spPr>
        <p:txBody>
          <a:bodyPr anchor="b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om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titel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maken</a:t>
            </a:r>
            <a:endParaRPr lang="nl-NL" dirty="0"/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501651" y="2095645"/>
            <a:ext cx="7778749" cy="461665"/>
          </a:xfrm>
          <a:effectLst>
            <a:outerShdw blurRad="63500" dist="25400" dir="5400000" algn="tl" rotWithShape="0">
              <a:schemeClr val="tx1">
                <a:lumMod val="50000"/>
                <a:lumOff val="50000"/>
                <a:alpha val="60000"/>
              </a:schemeClr>
            </a:outerShdw>
          </a:effectLst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Klik om een subtitel te maken</a:t>
            </a:r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821C4A5-98F2-7545-875B-39B2F4500447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6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5976496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d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3582556"/>
          </a:xfrm>
          <a:solidFill>
            <a:srgbClr val="EAEAEA"/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nl-NL" dirty="0" smtClean="0"/>
              <a:t>Laad foto in en plaats deze naar Achtergrond.</a:t>
            </a:r>
            <a:br>
              <a:rPr lang="nl-NL" dirty="0" smtClean="0"/>
            </a:br>
            <a:r>
              <a:rPr lang="nl-NL" dirty="0" smtClean="0"/>
              <a:t>(Foto wordt automatisch gecentreerd binnen dit vlak)</a:t>
            </a:r>
            <a:endParaRPr lang="en-US" dirty="0"/>
          </a:p>
        </p:txBody>
      </p:sp>
      <p:sp>
        <p:nvSpPr>
          <p:cNvPr id="21" name="Titel 14"/>
          <p:cNvSpPr>
            <a:spLocks noGrp="1"/>
          </p:cNvSpPr>
          <p:nvPr>
            <p:ph type="title" hasCustomPrompt="1"/>
          </p:nvPr>
        </p:nvSpPr>
        <p:spPr>
          <a:xfrm>
            <a:off x="1" y="2042914"/>
            <a:ext cx="6096069" cy="1279066"/>
          </a:xfrm>
          <a:custGeom>
            <a:avLst/>
            <a:gdLst>
              <a:gd name="connsiteX0" fmla="*/ 0 w 6151950"/>
              <a:gd name="connsiteY0" fmla="*/ 0 h 1269833"/>
              <a:gd name="connsiteX1" fmla="*/ 5999989 w 6151950"/>
              <a:gd name="connsiteY1" fmla="*/ 0 h 1269833"/>
              <a:gd name="connsiteX2" fmla="*/ 6151950 w 6151950"/>
              <a:gd name="connsiteY2" fmla="*/ 151961 h 1269833"/>
              <a:gd name="connsiteX3" fmla="*/ 6151950 w 6151950"/>
              <a:gd name="connsiteY3" fmla="*/ 1269833 h 1269833"/>
              <a:gd name="connsiteX4" fmla="*/ 0 w 6151950"/>
              <a:gd name="connsiteY4" fmla="*/ 1269833 h 1269833"/>
              <a:gd name="connsiteX5" fmla="*/ 0 w 6151950"/>
              <a:gd name="connsiteY5" fmla="*/ 0 h 1269833"/>
              <a:gd name="connsiteX0" fmla="*/ 0 w 6151950"/>
              <a:gd name="connsiteY0" fmla="*/ 0 h 1278300"/>
              <a:gd name="connsiteX1" fmla="*/ 5999989 w 6151950"/>
              <a:gd name="connsiteY1" fmla="*/ 0 h 1278300"/>
              <a:gd name="connsiteX2" fmla="*/ 6151950 w 6151950"/>
              <a:gd name="connsiteY2" fmla="*/ 151961 h 1278300"/>
              <a:gd name="connsiteX3" fmla="*/ 5999550 w 6151950"/>
              <a:gd name="connsiteY3" fmla="*/ 1278300 h 1278300"/>
              <a:gd name="connsiteX4" fmla="*/ 0 w 6151950"/>
              <a:gd name="connsiteY4" fmla="*/ 1269833 h 1278300"/>
              <a:gd name="connsiteX5" fmla="*/ 0 w 6151950"/>
              <a:gd name="connsiteY5" fmla="*/ 0 h 1278300"/>
              <a:gd name="connsiteX0" fmla="*/ 0 w 6151950"/>
              <a:gd name="connsiteY0" fmla="*/ 0 h 1278300"/>
              <a:gd name="connsiteX1" fmla="*/ 5999989 w 6151950"/>
              <a:gd name="connsiteY1" fmla="*/ 0 h 1278300"/>
              <a:gd name="connsiteX2" fmla="*/ 6151950 w 6151950"/>
              <a:gd name="connsiteY2" fmla="*/ 151961 h 1278300"/>
              <a:gd name="connsiteX3" fmla="*/ 6026149 w 6151950"/>
              <a:gd name="connsiteY3" fmla="*/ 1052450 h 1278300"/>
              <a:gd name="connsiteX4" fmla="*/ 5999550 w 6151950"/>
              <a:gd name="connsiteY4" fmla="*/ 1278300 h 1278300"/>
              <a:gd name="connsiteX5" fmla="*/ 0 w 6151950"/>
              <a:gd name="connsiteY5" fmla="*/ 1269833 h 1278300"/>
              <a:gd name="connsiteX6" fmla="*/ 0 w 6151950"/>
              <a:gd name="connsiteY6" fmla="*/ 0 h 1278300"/>
              <a:gd name="connsiteX0" fmla="*/ 0 w 6153149"/>
              <a:gd name="connsiteY0" fmla="*/ 0 h 1278300"/>
              <a:gd name="connsiteX1" fmla="*/ 5999989 w 6153149"/>
              <a:gd name="connsiteY1" fmla="*/ 0 h 1278300"/>
              <a:gd name="connsiteX2" fmla="*/ 6151950 w 6153149"/>
              <a:gd name="connsiteY2" fmla="*/ 151961 h 1278300"/>
              <a:gd name="connsiteX3" fmla="*/ 6153149 w 6153149"/>
              <a:gd name="connsiteY3" fmla="*/ 1103250 h 1278300"/>
              <a:gd name="connsiteX4" fmla="*/ 5999550 w 6153149"/>
              <a:gd name="connsiteY4" fmla="*/ 1278300 h 1278300"/>
              <a:gd name="connsiteX5" fmla="*/ 0 w 6153149"/>
              <a:gd name="connsiteY5" fmla="*/ 1269833 h 1278300"/>
              <a:gd name="connsiteX6" fmla="*/ 0 w 6153149"/>
              <a:gd name="connsiteY6" fmla="*/ 0 h 1278300"/>
              <a:gd name="connsiteX0" fmla="*/ 0 w 6153149"/>
              <a:gd name="connsiteY0" fmla="*/ 0 h 1278300"/>
              <a:gd name="connsiteX1" fmla="*/ 5999989 w 6153149"/>
              <a:gd name="connsiteY1" fmla="*/ 0 h 1278300"/>
              <a:gd name="connsiteX2" fmla="*/ 6151950 w 6153149"/>
              <a:gd name="connsiteY2" fmla="*/ 151961 h 1278300"/>
              <a:gd name="connsiteX3" fmla="*/ 6153149 w 6153149"/>
              <a:gd name="connsiteY3" fmla="*/ 1103250 h 1278300"/>
              <a:gd name="connsiteX4" fmla="*/ 5999550 w 6153149"/>
              <a:gd name="connsiteY4" fmla="*/ 1278300 h 1278300"/>
              <a:gd name="connsiteX5" fmla="*/ 0 w 6153149"/>
              <a:gd name="connsiteY5" fmla="*/ 1269833 h 1278300"/>
              <a:gd name="connsiteX6" fmla="*/ 0 w 6153149"/>
              <a:gd name="connsiteY6" fmla="*/ 0 h 1278300"/>
              <a:gd name="connsiteX0" fmla="*/ 0 w 6153149"/>
              <a:gd name="connsiteY0" fmla="*/ 0 h 1278300"/>
              <a:gd name="connsiteX1" fmla="*/ 5999989 w 6153149"/>
              <a:gd name="connsiteY1" fmla="*/ 0 h 1278300"/>
              <a:gd name="connsiteX2" fmla="*/ 6151950 w 6153149"/>
              <a:gd name="connsiteY2" fmla="*/ 151961 h 1278300"/>
              <a:gd name="connsiteX3" fmla="*/ 6153149 w 6153149"/>
              <a:gd name="connsiteY3" fmla="*/ 1103250 h 1278300"/>
              <a:gd name="connsiteX4" fmla="*/ 5999550 w 6153149"/>
              <a:gd name="connsiteY4" fmla="*/ 1278300 h 1278300"/>
              <a:gd name="connsiteX5" fmla="*/ 0 w 6153149"/>
              <a:gd name="connsiteY5" fmla="*/ 1269833 h 1278300"/>
              <a:gd name="connsiteX6" fmla="*/ 0 w 6153149"/>
              <a:gd name="connsiteY6" fmla="*/ 0 h 1278300"/>
              <a:gd name="connsiteX0" fmla="*/ 0 w 6153229"/>
              <a:gd name="connsiteY0" fmla="*/ 0 h 1278300"/>
              <a:gd name="connsiteX1" fmla="*/ 5999989 w 6153229"/>
              <a:gd name="connsiteY1" fmla="*/ 0 h 1278300"/>
              <a:gd name="connsiteX2" fmla="*/ 6151950 w 6153229"/>
              <a:gd name="connsiteY2" fmla="*/ 151961 h 1278300"/>
              <a:gd name="connsiteX3" fmla="*/ 6153149 w 6153229"/>
              <a:gd name="connsiteY3" fmla="*/ 1103250 h 1278300"/>
              <a:gd name="connsiteX4" fmla="*/ 5999550 w 6153229"/>
              <a:gd name="connsiteY4" fmla="*/ 1278300 h 1278300"/>
              <a:gd name="connsiteX5" fmla="*/ 0 w 6153229"/>
              <a:gd name="connsiteY5" fmla="*/ 1269833 h 1278300"/>
              <a:gd name="connsiteX6" fmla="*/ 0 w 6153229"/>
              <a:gd name="connsiteY6" fmla="*/ 0 h 1278300"/>
              <a:gd name="connsiteX0" fmla="*/ 0 w 6153219"/>
              <a:gd name="connsiteY0" fmla="*/ 0 h 1278300"/>
              <a:gd name="connsiteX1" fmla="*/ 5999989 w 6153219"/>
              <a:gd name="connsiteY1" fmla="*/ 0 h 1278300"/>
              <a:gd name="connsiteX2" fmla="*/ 6151950 w 6153219"/>
              <a:gd name="connsiteY2" fmla="*/ 151961 h 1278300"/>
              <a:gd name="connsiteX3" fmla="*/ 6153149 w 6153219"/>
              <a:gd name="connsiteY3" fmla="*/ 1103250 h 1278300"/>
              <a:gd name="connsiteX4" fmla="*/ 5999550 w 6153219"/>
              <a:gd name="connsiteY4" fmla="*/ 1278300 h 1278300"/>
              <a:gd name="connsiteX5" fmla="*/ 0 w 6153219"/>
              <a:gd name="connsiteY5" fmla="*/ 1269833 h 1278300"/>
              <a:gd name="connsiteX6" fmla="*/ 0 w 6153219"/>
              <a:gd name="connsiteY6" fmla="*/ 0 h 1278300"/>
              <a:gd name="connsiteX0" fmla="*/ 4233 w 6157452"/>
              <a:gd name="connsiteY0" fmla="*/ 0 h 1282533"/>
              <a:gd name="connsiteX1" fmla="*/ 6004222 w 6157452"/>
              <a:gd name="connsiteY1" fmla="*/ 0 h 1282533"/>
              <a:gd name="connsiteX2" fmla="*/ 6156183 w 6157452"/>
              <a:gd name="connsiteY2" fmla="*/ 151961 h 1282533"/>
              <a:gd name="connsiteX3" fmla="*/ 6157382 w 6157452"/>
              <a:gd name="connsiteY3" fmla="*/ 1103250 h 1282533"/>
              <a:gd name="connsiteX4" fmla="*/ 6003783 w 6157452"/>
              <a:gd name="connsiteY4" fmla="*/ 1278300 h 1282533"/>
              <a:gd name="connsiteX5" fmla="*/ 0 w 6157452"/>
              <a:gd name="connsiteY5" fmla="*/ 1282533 h 1282533"/>
              <a:gd name="connsiteX6" fmla="*/ 4233 w 6157452"/>
              <a:gd name="connsiteY6" fmla="*/ 0 h 1282533"/>
              <a:gd name="connsiteX0" fmla="*/ 0 w 6153219"/>
              <a:gd name="connsiteY0" fmla="*/ 0 h 1291000"/>
              <a:gd name="connsiteX1" fmla="*/ 5999989 w 6153219"/>
              <a:gd name="connsiteY1" fmla="*/ 0 h 1291000"/>
              <a:gd name="connsiteX2" fmla="*/ 6151950 w 6153219"/>
              <a:gd name="connsiteY2" fmla="*/ 151961 h 1291000"/>
              <a:gd name="connsiteX3" fmla="*/ 6153149 w 6153219"/>
              <a:gd name="connsiteY3" fmla="*/ 1103250 h 1291000"/>
              <a:gd name="connsiteX4" fmla="*/ 5999550 w 6153219"/>
              <a:gd name="connsiteY4" fmla="*/ 1278300 h 1291000"/>
              <a:gd name="connsiteX5" fmla="*/ 8467 w 6153219"/>
              <a:gd name="connsiteY5" fmla="*/ 1291000 h 1291000"/>
              <a:gd name="connsiteX6" fmla="*/ 0 w 6153219"/>
              <a:gd name="connsiteY6" fmla="*/ 0 h 1291000"/>
              <a:gd name="connsiteX0" fmla="*/ 0 w 6156424"/>
              <a:gd name="connsiteY0" fmla="*/ 0 h 1291000"/>
              <a:gd name="connsiteX1" fmla="*/ 6003194 w 6156424"/>
              <a:gd name="connsiteY1" fmla="*/ 0 h 1291000"/>
              <a:gd name="connsiteX2" fmla="*/ 6155155 w 6156424"/>
              <a:gd name="connsiteY2" fmla="*/ 151961 h 1291000"/>
              <a:gd name="connsiteX3" fmla="*/ 6156354 w 6156424"/>
              <a:gd name="connsiteY3" fmla="*/ 1103250 h 1291000"/>
              <a:gd name="connsiteX4" fmla="*/ 6002755 w 6156424"/>
              <a:gd name="connsiteY4" fmla="*/ 1278300 h 1291000"/>
              <a:gd name="connsiteX5" fmla="*/ 11672 w 6156424"/>
              <a:gd name="connsiteY5" fmla="*/ 1291000 h 1291000"/>
              <a:gd name="connsiteX6" fmla="*/ 0 w 6156424"/>
              <a:gd name="connsiteY6" fmla="*/ 0 h 1291000"/>
              <a:gd name="connsiteX0" fmla="*/ 0 w 6156424"/>
              <a:gd name="connsiteY0" fmla="*/ 0 h 1291000"/>
              <a:gd name="connsiteX1" fmla="*/ 6003194 w 6156424"/>
              <a:gd name="connsiteY1" fmla="*/ 0 h 1291000"/>
              <a:gd name="connsiteX2" fmla="*/ 6155155 w 6156424"/>
              <a:gd name="connsiteY2" fmla="*/ 151961 h 1291000"/>
              <a:gd name="connsiteX3" fmla="*/ 6156354 w 6156424"/>
              <a:gd name="connsiteY3" fmla="*/ 1103250 h 1291000"/>
              <a:gd name="connsiteX4" fmla="*/ 6002755 w 6156424"/>
              <a:gd name="connsiteY4" fmla="*/ 1278300 h 1291000"/>
              <a:gd name="connsiteX5" fmla="*/ 2058 w 6156424"/>
              <a:gd name="connsiteY5" fmla="*/ 1291000 h 1291000"/>
              <a:gd name="connsiteX6" fmla="*/ 0 w 6156424"/>
              <a:gd name="connsiteY6" fmla="*/ 0 h 12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56424" h="1291000">
                <a:moveTo>
                  <a:pt x="0" y="0"/>
                </a:moveTo>
                <a:lnTo>
                  <a:pt x="6003194" y="0"/>
                </a:lnTo>
                <a:cubicBezTo>
                  <a:pt x="6087120" y="0"/>
                  <a:pt x="6155155" y="68035"/>
                  <a:pt x="6155155" y="151961"/>
                </a:cubicBezTo>
                <a:cubicBezTo>
                  <a:pt x="6155555" y="469057"/>
                  <a:pt x="6152521" y="930600"/>
                  <a:pt x="6156354" y="1103250"/>
                </a:cubicBezTo>
                <a:cubicBezTo>
                  <a:pt x="6160187" y="1275900"/>
                  <a:pt x="6007388" y="1270750"/>
                  <a:pt x="6002755" y="1278300"/>
                </a:cubicBezTo>
                <a:lnTo>
                  <a:pt x="2058" y="1291000"/>
                </a:lnTo>
                <a:cubicBezTo>
                  <a:pt x="-764" y="860667"/>
                  <a:pt x="2822" y="430333"/>
                  <a:pt x="0" y="0"/>
                </a:cubicBezTo>
                <a:close/>
              </a:path>
            </a:pathLst>
          </a:custGeom>
          <a:solidFill>
            <a:schemeClr val="bg1">
              <a:alpha val="87000"/>
            </a:schemeClr>
          </a:solidFill>
          <a:ln w="19050" cmpd="sng">
            <a:noFill/>
          </a:ln>
        </p:spPr>
        <p:txBody>
          <a:bodyPr wrap="square" lIns="504000" tIns="126000" rIns="108000" bIns="144000" anchor="b">
            <a:sp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/>
            </a:r>
            <a:br>
              <a:rPr lang="en-US" dirty="0"/>
            </a:br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om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titel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maken</a:t>
            </a:r>
            <a:endParaRPr lang="nl-NL" dirty="0"/>
          </a:p>
        </p:txBody>
      </p:sp>
      <p:sp>
        <p:nvSpPr>
          <p:cNvPr id="26" name="Tijdelijke aanduiding voor dianummer 4"/>
          <p:cNvSpPr txBox="1">
            <a:spLocks/>
          </p:cNvSpPr>
          <p:nvPr userDrawn="1"/>
        </p:nvSpPr>
        <p:spPr>
          <a:xfrm>
            <a:off x="7637464" y="4862517"/>
            <a:ext cx="642937" cy="2047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nl-NL"/>
            </a:defPPr>
            <a:lvl1pPr marL="0" algn="r" defTabSz="456999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6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98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21C4A5-98F2-7545-875B-39B2F4500447}" type="slidenum">
              <a:rPr lang="nl-NL">
                <a:solidFill>
                  <a:schemeClr val="bg1"/>
                </a:solidFill>
              </a:rPr>
              <a:pPr/>
              <a:t>‹nr.›</a:t>
            </a:fld>
            <a:endParaRPr lang="nl-NL">
              <a:solidFill>
                <a:schemeClr val="bg1"/>
              </a:solidFill>
            </a:endParaRPr>
          </a:p>
        </p:txBody>
      </p:sp>
      <p:pic>
        <p:nvPicPr>
          <p:cNvPr id="7" name="Afbeelding 9" descr="RB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41538" y="3835989"/>
            <a:ext cx="896774" cy="1073211"/>
          </a:xfrm>
          <a:prstGeom prst="rect">
            <a:avLst/>
          </a:prstGeom>
        </p:spPr>
      </p:pic>
      <p:sp>
        <p:nvSpPr>
          <p:cNvPr id="9" name="Tijdelijke aanduiding voor dianummer 4"/>
          <p:cNvSpPr>
            <a:spLocks noGrp="1"/>
          </p:cNvSpPr>
          <p:nvPr>
            <p:ph type="sldNum" sz="quarter" idx="10"/>
          </p:nvPr>
        </p:nvSpPr>
        <p:spPr>
          <a:xfrm>
            <a:off x="6910633" y="4731985"/>
            <a:ext cx="642937" cy="2047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21C4A5-98F2-7545-875B-39B2F4500447}" type="slidenum">
              <a:rPr lang="nl-NL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1187672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347037-4590-4367-AC5C-150D8A78D8D2}" type="datetime1">
              <a:rPr lang="en-GB"/>
              <a:pPr>
                <a:defRPr/>
              </a:pPr>
              <a:t>18/11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BC8113-6F18-4E73-AD55-A491D43507C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17790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 userDrawn="1"/>
        </p:nvSpPr>
        <p:spPr>
          <a:xfrm>
            <a:off x="7743568" y="197708"/>
            <a:ext cx="1103870" cy="84026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90000" rIns="72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MyriadRegular"/>
            </a:endParaRPr>
          </a:p>
        </p:txBody>
      </p:sp>
      <p:sp>
        <p:nvSpPr>
          <p:cNvPr id="3" name="Subtitel 2"/>
          <p:cNvSpPr>
            <a:spLocks noGrp="1"/>
          </p:cNvSpPr>
          <p:nvPr>
            <p:ph type="subTitle" idx="1" hasCustomPrompt="1"/>
          </p:nvPr>
        </p:nvSpPr>
        <p:spPr>
          <a:xfrm>
            <a:off x="2019309" y="3428327"/>
            <a:ext cx="4067825" cy="765042"/>
          </a:xfrm>
          <a:prstGeom prst="roundRect">
            <a:avLst>
              <a:gd name="adj" fmla="val 21895"/>
            </a:avLst>
          </a:prstGeom>
          <a:gradFill flip="none" rotWithShape="0">
            <a:gsLst>
              <a:gs pos="0">
                <a:srgbClr val="FF8000"/>
              </a:gs>
              <a:gs pos="94000">
                <a:srgbClr val="FF4D00"/>
              </a:gs>
            </a:gsLst>
            <a:lin ang="1320000" scaled="0"/>
            <a:tileRect/>
          </a:gra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108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 defTabSz="4569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2100" b="1" i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6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Klik</a:t>
            </a:r>
            <a:r>
              <a:rPr lang="en-US" dirty="0" smtClean="0"/>
              <a:t> </a:t>
            </a:r>
            <a:r>
              <a:rPr lang="en-US" dirty="0" err="1" smtClean="0"/>
              <a:t>om</a:t>
            </a:r>
            <a:r>
              <a:rPr lang="en-US" dirty="0" smtClean="0"/>
              <a:t> </a:t>
            </a:r>
            <a:r>
              <a:rPr lang="en-US" dirty="0" err="1" smtClean="0"/>
              <a:t>een</a:t>
            </a:r>
            <a:r>
              <a:rPr lang="en-US" dirty="0" smtClean="0"/>
              <a:t> </a:t>
            </a:r>
            <a:r>
              <a:rPr lang="en-US" dirty="0" err="1" smtClean="0"/>
              <a:t>subtitel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maken</a:t>
            </a:r>
            <a:endParaRPr lang="nl-NL" dirty="0"/>
          </a:p>
        </p:txBody>
      </p:sp>
      <p:sp>
        <p:nvSpPr>
          <p:cNvPr id="11" name="Tijdelijke aanduiding voor afbeelding 2"/>
          <p:cNvSpPr>
            <a:spLocks noGrp="1"/>
          </p:cNvSpPr>
          <p:nvPr>
            <p:ph type="pic" idx="12" hasCustomPrompt="1"/>
          </p:nvPr>
        </p:nvSpPr>
        <p:spPr>
          <a:xfrm>
            <a:off x="0" y="-16336"/>
            <a:ext cx="9144000" cy="34278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tIns="864000" anchor="ctr"/>
          <a:lstStyle>
            <a:lvl1pPr marL="0" indent="0" algn="ctr">
              <a:buNone/>
              <a:defRPr sz="1200" b="0" i="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 smtClean="0"/>
              <a:t>Laad foto in en plaats deze naar Achtergrond.</a:t>
            </a:r>
            <a:br>
              <a:rPr lang="nl-NL" dirty="0" smtClean="0"/>
            </a:br>
            <a:r>
              <a:rPr lang="nl-NL" dirty="0" smtClean="0"/>
              <a:t>(Foto wordt automatisch gecentreerd binnen dit vlak)</a:t>
            </a:r>
            <a:endParaRPr lang="nl-NL" dirty="0"/>
          </a:p>
        </p:txBody>
      </p:sp>
      <p:sp>
        <p:nvSpPr>
          <p:cNvPr id="13" name="Rechthoek 12"/>
          <p:cNvSpPr/>
          <p:nvPr userDrawn="1"/>
        </p:nvSpPr>
        <p:spPr>
          <a:xfrm>
            <a:off x="5892801" y="3302973"/>
            <a:ext cx="194334" cy="409137"/>
          </a:xfrm>
          <a:prstGeom prst="rect">
            <a:avLst/>
          </a:prstGeom>
          <a:solidFill>
            <a:srgbClr val="FF4D00"/>
          </a:solidFill>
          <a:ln w="190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36000" rIns="9144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Regular"/>
              <a:ea typeface="+mn-ea"/>
              <a:cs typeface="MyriadRegular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>
          <a:xfrm>
            <a:off x="-119529" y="2391317"/>
            <a:ext cx="6214330" cy="1029270"/>
          </a:xfrm>
          <a:prstGeom prst="round1Rect">
            <a:avLst>
              <a:gd name="adj" fmla="val 11967"/>
            </a:avLst>
          </a:prstGeom>
          <a:solidFill>
            <a:schemeClr val="accent1"/>
          </a:solidFill>
          <a:ln w="19050" cmpd="sng">
            <a:solidFill>
              <a:schemeClr val="bg1"/>
            </a:solidFill>
          </a:ln>
        </p:spPr>
        <p:txBody>
          <a:bodyPr wrap="square" lIns="504000" tIns="126000" rIns="108000" bIns="144000" anchor="b">
            <a:noAutofit/>
          </a:bodyPr>
          <a:lstStyle>
            <a:lvl1pPr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Banking For Food</a:t>
            </a:r>
            <a:endParaRPr lang="nl-NL" dirty="0"/>
          </a:p>
        </p:txBody>
      </p:sp>
      <p:pic>
        <p:nvPicPr>
          <p:cNvPr id="10" name="Afbeelding 9" descr="RB_logo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014999" y="3880296"/>
            <a:ext cx="716890" cy="858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827386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ofdstuk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2"/>
          <p:cNvSpPr>
            <a:spLocks noGrp="1"/>
          </p:cNvSpPr>
          <p:nvPr>
            <p:ph type="pic" idx="10" hasCustomPrompt="1"/>
          </p:nvPr>
        </p:nvSpPr>
        <p:spPr>
          <a:xfrm>
            <a:off x="1" y="1098551"/>
            <a:ext cx="9143999" cy="4044951"/>
          </a:xfrm>
        </p:spPr>
        <p:txBody>
          <a:bodyPr vert="horz" lIns="0" tIns="864000" rIns="0" bIns="0" rtlCol="0" anchor="ctr">
            <a:noAutofit/>
          </a:bodyPr>
          <a:lstStyle>
            <a:lvl1pPr marL="0" indent="0" algn="ctr" defTabSz="456999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lang="nl-NL" sz="1200" b="0" i="0" kern="1200" baseline="0" dirty="0">
                <a:solidFill>
                  <a:schemeClr val="tx2"/>
                </a:solidFill>
                <a:latin typeface="+mj-lt"/>
                <a:ea typeface="+mn-ea"/>
                <a:cs typeface="Myriad Pro Light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 smtClean="0"/>
              <a:t>Laad foto in</a:t>
            </a:r>
          </a:p>
          <a:p>
            <a:r>
              <a:rPr lang="nl-NL" dirty="0" smtClean="0"/>
              <a:t>(Foto wordt automatisch gecentreerd)</a:t>
            </a:r>
            <a:endParaRPr lang="nl-NL" dirty="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75813" y="191292"/>
            <a:ext cx="7080393" cy="1078706"/>
          </a:xfrm>
        </p:spPr>
        <p:txBody>
          <a:bodyPr/>
          <a:lstStyle/>
          <a:p>
            <a:r>
              <a:rPr lang="nl-NL" dirty="0" smtClean="0"/>
              <a:t>Titelvenster</a:t>
            </a:r>
            <a:br>
              <a:rPr lang="nl-NL" dirty="0" smtClean="0"/>
            </a:br>
            <a:r>
              <a:rPr lang="nl-NL" dirty="0" smtClean="0"/>
              <a:t>maximaal 2 regels</a:t>
            </a:r>
            <a:endParaRPr lang="nl-NL" dirty="0"/>
          </a:p>
        </p:txBody>
      </p:sp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4465121" y="1"/>
            <a:ext cx="4254389" cy="2393093"/>
          </a:xfrm>
          <a:prstGeom prst="rect">
            <a:avLst/>
          </a:prstGeom>
          <a:ln w="9525">
            <a:noFill/>
          </a:ln>
        </p:spPr>
      </p:pic>
      <p:sp>
        <p:nvSpPr>
          <p:cNvPr id="10" name="Tekstvak 9"/>
          <p:cNvSpPr txBox="1"/>
          <p:nvPr userDrawn="1"/>
        </p:nvSpPr>
        <p:spPr>
          <a:xfrm>
            <a:off x="-4465121" y="-266885"/>
            <a:ext cx="2090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6999" fontAlgn="auto">
              <a:spcBef>
                <a:spcPts val="0"/>
              </a:spcBef>
              <a:spcAft>
                <a:spcPts val="0"/>
              </a:spcAft>
            </a:pPr>
            <a:r>
              <a:rPr lang="nl-NL" sz="1600" dirty="0" smtClean="0">
                <a:solidFill>
                  <a:prstClr val="white"/>
                </a:solidFill>
                <a:latin typeface="Corbel"/>
              </a:rPr>
              <a:t>Voorbeeld lay-out</a:t>
            </a:r>
            <a:endParaRPr lang="nl-NL" sz="1600" dirty="0">
              <a:solidFill>
                <a:prstClr val="white"/>
              </a:solidFill>
              <a:latin typeface="Corbel"/>
            </a:endParaRPr>
          </a:p>
        </p:txBody>
      </p:sp>
      <p:sp>
        <p:nvSpPr>
          <p:cNvPr id="23" name="Tekstvak 22"/>
          <p:cNvSpPr txBox="1"/>
          <p:nvPr userDrawn="1"/>
        </p:nvSpPr>
        <p:spPr>
          <a:xfrm>
            <a:off x="1" y="-266885"/>
            <a:ext cx="28382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6999" fontAlgn="auto">
              <a:spcBef>
                <a:spcPts val="0"/>
              </a:spcBef>
              <a:spcAft>
                <a:spcPts val="0"/>
              </a:spcAft>
            </a:pPr>
            <a:r>
              <a:rPr lang="nl-NL" sz="1600" dirty="0" smtClean="0">
                <a:solidFill>
                  <a:prstClr val="white"/>
                </a:solidFill>
                <a:latin typeface="Corbel"/>
              </a:rPr>
              <a:t>Hoofdstuktitel</a:t>
            </a:r>
          </a:p>
        </p:txBody>
      </p:sp>
    </p:spTree>
    <p:extLst>
      <p:ext uri="{BB962C8B-B14F-4D97-AF65-F5344CB8AC3E}">
        <p14:creationId xmlns:p14="http://schemas.microsoft.com/office/powerpoint/2010/main" xmlns="" val="4208402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én kolo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75812" y="1416050"/>
            <a:ext cx="8182413" cy="3351214"/>
          </a:xfrm>
        </p:spPr>
        <p:txBody>
          <a:bodyPr vert="horz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nl-NL" sz="2000" b="1" i="1" u="none" strike="noStrike" kern="1200" cap="none" spc="0" normalizeH="0" baseline="0" noProof="0">
                <a:latin typeface="Corbe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nl-NL" sz="1600" b="1" i="1" u="none" strike="noStrike" kern="1200" cap="none" spc="0" normalizeH="0" baseline="0" noProof="0">
                <a:latin typeface="Corbel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nl-NL" sz="1600" b="0" i="0" u="none" strike="noStrike" kern="1200" cap="none" spc="0" normalizeH="0" baseline="0" noProof="0">
                <a:latin typeface="Corbel" pitchFamily="34" charset="0"/>
              </a:defRPr>
            </a:lvl3pPr>
            <a:lvl4pPr marL="173038" marR="0" indent="-1730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6600"/>
              </a:buClr>
              <a:buSzTx/>
              <a:buFont typeface="Arial" pitchFamily="34" charset="0"/>
              <a:buChar char="•"/>
              <a:tabLst/>
              <a:defRPr kumimoji="0" lang="nl-NL" sz="1600" b="0" i="0" u="none" strike="noStrike" kern="1200" cap="none" spc="0" normalizeH="0" baseline="0" noProof="0">
                <a:solidFill>
                  <a:prstClr val="black"/>
                </a:solidFill>
                <a:effectLst/>
                <a:uLnTx/>
                <a:uFillTx/>
                <a:latin typeface="Corbel" pitchFamily="34" charset="0"/>
              </a:defRPr>
            </a:lvl4pPr>
            <a:lvl5pPr marL="361950" marR="0" indent="-18891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kumimoji="0" lang="nl-NL" sz="1600" b="0" i="0" u="none" strike="noStrike" kern="1200" cap="none" spc="0" normalizeH="0" baseline="0" noProof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2000" b="1" i="1" u="none" strike="noStrike" kern="1200" cap="none" spc="0" normalizeH="0" baseline="0" noProof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Corbel" pitchFamily="34" charset="0"/>
                <a:ea typeface="+mn-ea"/>
                <a:cs typeface="+mn-cs"/>
              </a:rPr>
              <a:t>Klik om de modelstijlen te bewerke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2000" b="1" i="1" u="none" strike="noStrike" kern="1200" cap="none" spc="0" normalizeH="0" baseline="0" noProof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Corbel" pitchFamily="34" charset="0"/>
                <a:ea typeface="+mn-ea"/>
                <a:cs typeface="+mn-cs"/>
              </a:rPr>
              <a:t>Tweede niveau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2000" b="1" i="1" u="none" strike="noStrike" kern="1200" cap="none" spc="0" normalizeH="0" baseline="0" noProof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Corbel" pitchFamily="34" charset="0"/>
                <a:ea typeface="+mn-ea"/>
                <a:cs typeface="+mn-cs"/>
              </a:rPr>
              <a:t>Derde niveau</a:t>
            </a:r>
          </a:p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2000" b="1" i="1" u="none" strike="noStrike" kern="1200" cap="none" spc="0" normalizeH="0" baseline="0" noProof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Corbel" pitchFamily="34" charset="0"/>
                <a:ea typeface="+mn-ea"/>
                <a:cs typeface="+mn-cs"/>
              </a:rPr>
              <a:t>Vierde niveau</a:t>
            </a:r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2000" b="1" i="1" u="none" strike="noStrike" kern="1200" cap="none" spc="0" normalizeH="0" baseline="0" noProof="0" smtClean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Corbel" pitchFamily="34" charset="0"/>
                <a:ea typeface="+mn-ea"/>
                <a:cs typeface="+mn-cs"/>
              </a:rPr>
              <a:t>Vijfde niveau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orbel" pitchFamily="34" charset="0"/>
              <a:ea typeface="+mn-ea"/>
              <a:cs typeface="+mn-cs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75813" y="191292"/>
            <a:ext cx="7080393" cy="1078706"/>
          </a:xfrm>
        </p:spPr>
        <p:txBody>
          <a:bodyPr/>
          <a:lstStyle/>
          <a:p>
            <a:r>
              <a:rPr lang="nl-NL" dirty="0" smtClean="0"/>
              <a:t>Titelvenster</a:t>
            </a:r>
            <a:br>
              <a:rPr lang="nl-NL" dirty="0" smtClean="0"/>
            </a:br>
            <a:r>
              <a:rPr lang="nl-NL" dirty="0" smtClean="0"/>
              <a:t>maximaal 2 regels</a:t>
            </a:r>
            <a:endParaRPr lang="nl-NL" dirty="0"/>
          </a:p>
        </p:txBody>
      </p:sp>
      <p:sp>
        <p:nvSpPr>
          <p:cNvPr id="10" name="Tekstvak 9"/>
          <p:cNvSpPr txBox="1"/>
          <p:nvPr userDrawn="1"/>
        </p:nvSpPr>
        <p:spPr>
          <a:xfrm>
            <a:off x="-4465121" y="-266885"/>
            <a:ext cx="2090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6999"/>
            <a:r>
              <a:rPr lang="nl-NL" sz="1600" dirty="0">
                <a:solidFill>
                  <a:prstClr val="white"/>
                </a:solidFill>
              </a:rPr>
              <a:t>Voorbeeld lay-out</a:t>
            </a:r>
          </a:p>
        </p:txBody>
      </p:sp>
      <p:sp>
        <p:nvSpPr>
          <p:cNvPr id="23" name="Tekstvak 22"/>
          <p:cNvSpPr txBox="1"/>
          <p:nvPr userDrawn="1"/>
        </p:nvSpPr>
        <p:spPr>
          <a:xfrm>
            <a:off x="0" y="-266885"/>
            <a:ext cx="28382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6999"/>
            <a:r>
              <a:rPr lang="nl-NL" sz="1600" dirty="0">
                <a:solidFill>
                  <a:prstClr val="white"/>
                </a:solidFill>
              </a:rPr>
              <a:t>Eén kolom Tekst</a:t>
            </a:r>
          </a:p>
        </p:txBody>
      </p:sp>
      <p:sp>
        <p:nvSpPr>
          <p:cNvPr id="28" name="Afgeronde rechthoek 27"/>
          <p:cNvSpPr/>
          <p:nvPr userDrawn="1"/>
        </p:nvSpPr>
        <p:spPr>
          <a:xfrm>
            <a:off x="-4270813" y="3559138"/>
            <a:ext cx="180391" cy="132120"/>
          </a:xfrm>
          <a:prstGeom prst="roundRect">
            <a:avLst/>
          </a:prstGeom>
          <a:solidFill>
            <a:schemeClr val="accent3">
              <a:lumMod val="20000"/>
              <a:lumOff val="80000"/>
              <a:alpha val="90000"/>
            </a:schemeClr>
          </a:solidFill>
          <a:ln w="635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nl-NL" sz="900" b="1" i="1" kern="0" dirty="0">
                <a:solidFill>
                  <a:srgbClr val="739ABC"/>
                </a:solidFill>
                <a:latin typeface="Myriad Pro Light" pitchFamily="34" charset="0"/>
                <a:cs typeface="Myriad Pro"/>
              </a:rPr>
              <a:t>1</a:t>
            </a:r>
          </a:p>
        </p:txBody>
      </p:sp>
      <p:sp>
        <p:nvSpPr>
          <p:cNvPr id="29" name="Afgeronde rechthoek 28"/>
          <p:cNvSpPr/>
          <p:nvPr userDrawn="1"/>
        </p:nvSpPr>
        <p:spPr>
          <a:xfrm>
            <a:off x="-4270812" y="3787401"/>
            <a:ext cx="180391" cy="132120"/>
          </a:xfrm>
          <a:prstGeom prst="roundRect">
            <a:avLst/>
          </a:prstGeom>
          <a:solidFill>
            <a:schemeClr val="accent3">
              <a:lumMod val="20000"/>
              <a:lumOff val="80000"/>
              <a:alpha val="90000"/>
            </a:schemeClr>
          </a:solidFill>
          <a:ln w="635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nl-NL" sz="900" b="1" i="1" kern="0" dirty="0">
                <a:solidFill>
                  <a:srgbClr val="739ABC"/>
                </a:solidFill>
                <a:latin typeface="Myriad Pro Light" pitchFamily="34" charset="0"/>
                <a:cs typeface="Myriad Pro"/>
              </a:rPr>
              <a:t>2</a:t>
            </a:r>
          </a:p>
        </p:txBody>
      </p:sp>
      <p:sp>
        <p:nvSpPr>
          <p:cNvPr id="30" name="Afgeronde rechthoek 29"/>
          <p:cNvSpPr/>
          <p:nvPr userDrawn="1"/>
        </p:nvSpPr>
        <p:spPr>
          <a:xfrm>
            <a:off x="-4270812" y="4015664"/>
            <a:ext cx="180391" cy="132120"/>
          </a:xfrm>
          <a:prstGeom prst="roundRect">
            <a:avLst/>
          </a:prstGeom>
          <a:solidFill>
            <a:schemeClr val="accent3">
              <a:lumMod val="20000"/>
              <a:lumOff val="80000"/>
              <a:alpha val="90000"/>
            </a:schemeClr>
          </a:solidFill>
          <a:ln w="635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nl-NL" sz="900" b="1" i="1" kern="0" dirty="0">
                <a:solidFill>
                  <a:srgbClr val="739ABC"/>
                </a:solidFill>
                <a:latin typeface="Myriad Pro Light" pitchFamily="34" charset="0"/>
                <a:cs typeface="Myriad Pro"/>
              </a:rPr>
              <a:t>3</a:t>
            </a:r>
          </a:p>
        </p:txBody>
      </p:sp>
      <p:sp>
        <p:nvSpPr>
          <p:cNvPr id="31" name="Afgeronde rechthoek 30"/>
          <p:cNvSpPr/>
          <p:nvPr userDrawn="1"/>
        </p:nvSpPr>
        <p:spPr>
          <a:xfrm>
            <a:off x="-4270812" y="4243928"/>
            <a:ext cx="180391" cy="132120"/>
          </a:xfrm>
          <a:prstGeom prst="roundRect">
            <a:avLst/>
          </a:prstGeom>
          <a:solidFill>
            <a:schemeClr val="accent3">
              <a:lumMod val="20000"/>
              <a:lumOff val="80000"/>
              <a:alpha val="90000"/>
            </a:schemeClr>
          </a:solidFill>
          <a:ln w="635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nl-NL" sz="900" b="1" i="1" kern="0" dirty="0">
                <a:solidFill>
                  <a:srgbClr val="739ABC"/>
                </a:solidFill>
                <a:latin typeface="Myriad Pro Light" pitchFamily="34" charset="0"/>
                <a:cs typeface="Myriad Pro"/>
              </a:rPr>
              <a:t>4</a:t>
            </a:r>
          </a:p>
        </p:txBody>
      </p:sp>
      <p:sp>
        <p:nvSpPr>
          <p:cNvPr id="32" name="Afgeronde rechthoek 31"/>
          <p:cNvSpPr/>
          <p:nvPr userDrawn="1"/>
        </p:nvSpPr>
        <p:spPr>
          <a:xfrm>
            <a:off x="-4270812" y="4472191"/>
            <a:ext cx="180391" cy="132120"/>
          </a:xfrm>
          <a:prstGeom prst="roundRect">
            <a:avLst/>
          </a:prstGeom>
          <a:solidFill>
            <a:schemeClr val="accent3">
              <a:lumMod val="20000"/>
              <a:lumOff val="80000"/>
              <a:alpha val="90000"/>
            </a:schemeClr>
          </a:solidFill>
          <a:ln w="635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nl-NL" sz="900" b="1" i="1" kern="0" dirty="0">
                <a:solidFill>
                  <a:srgbClr val="739ABC"/>
                </a:solidFill>
                <a:latin typeface="Myriad Pro Light" pitchFamily="34" charset="0"/>
                <a:cs typeface="Myriad Pro"/>
              </a:rPr>
              <a:t>5</a:t>
            </a:r>
          </a:p>
        </p:txBody>
      </p:sp>
      <p:grpSp>
        <p:nvGrpSpPr>
          <p:cNvPr id="33" name="Groep 54"/>
          <p:cNvGrpSpPr/>
          <p:nvPr userDrawn="1"/>
        </p:nvGrpSpPr>
        <p:grpSpPr>
          <a:xfrm>
            <a:off x="-1235015" y="3414062"/>
            <a:ext cx="869793" cy="499273"/>
            <a:chOff x="1376047" y="743350"/>
            <a:chExt cx="902937" cy="709828"/>
          </a:xfrm>
        </p:grpSpPr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2" cstate="screen">
              <a:lum contrast="10000"/>
            </a:blip>
            <a:srcRect/>
            <a:stretch>
              <a:fillRect/>
            </a:stretch>
          </p:blipFill>
          <p:spPr bwMode="auto">
            <a:xfrm>
              <a:off x="1376047" y="743350"/>
              <a:ext cx="902937" cy="561986"/>
            </a:xfrm>
            <a:prstGeom prst="rect">
              <a:avLst/>
            </a:prstGeom>
            <a:noFill/>
            <a:ln w="9525">
              <a:solidFill>
                <a:schemeClr val="accent3"/>
              </a:solidFill>
              <a:miter lim="800000"/>
              <a:headEnd/>
              <a:tailEnd/>
            </a:ln>
          </p:spPr>
        </p:pic>
        <p:pic>
          <p:nvPicPr>
            <p:cNvPr id="35" name="Picture 8" descr="P:\PPTdesign\0pdrachtgevers\Euler Hermes\Beeldmateriaal\muis.png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1929320" y="1061376"/>
              <a:ext cx="258619" cy="391802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xmlns="" val="4135159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/>
              <a:pPr/>
              <a:t>‹nr.›</a:t>
            </a:fld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1"/>
          </p:nvPr>
        </p:nvSpPr>
        <p:spPr>
          <a:xfrm>
            <a:off x="475814" y="1336196"/>
            <a:ext cx="7804586" cy="3429000"/>
          </a:xfrm>
        </p:spPr>
        <p:txBody>
          <a:bodyPr/>
          <a:lstStyle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96131335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dia met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/>
              <a:pPr/>
              <a:t>‹nr.›</a:t>
            </a:fld>
            <a:endParaRPr lang="nl-NL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476250" y="1346200"/>
            <a:ext cx="7804151" cy="3302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om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subtitel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maken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476250" y="1677600"/>
            <a:ext cx="7804800" cy="3078000"/>
          </a:xfrm>
        </p:spPr>
        <p:txBody>
          <a:bodyPr/>
          <a:lstStyle/>
          <a:p>
            <a:pPr lvl="0"/>
            <a:r>
              <a:rPr lang="en-US"/>
              <a:t>Klik om de tekststijl van het model te bewerken</a:t>
            </a:r>
          </a:p>
          <a:p>
            <a:pPr lvl="1"/>
            <a:r>
              <a:rPr lang="en-US"/>
              <a:t>Tweede niveau</a:t>
            </a:r>
          </a:p>
          <a:p>
            <a:pPr lvl="2"/>
            <a:r>
              <a:rPr lang="en-US"/>
              <a:t>Derde niveau</a:t>
            </a:r>
          </a:p>
          <a:p>
            <a:pPr lvl="3"/>
            <a:r>
              <a:rPr lang="en-US"/>
              <a:t>Vierde niveau</a:t>
            </a:r>
          </a:p>
          <a:p>
            <a:pPr lvl="4"/>
            <a:r>
              <a:rPr lang="en-US"/>
              <a:t>Vijfde niveau</a:t>
            </a:r>
            <a:endParaRPr lang="nl-NL"/>
          </a:p>
        </p:txBody>
      </p:sp>
      <p:sp>
        <p:nvSpPr>
          <p:cNvPr id="8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145181830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/>
              <a:pPr/>
              <a:t>‹nr.›</a:t>
            </a:fld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1"/>
          </p:nvPr>
        </p:nvSpPr>
        <p:spPr>
          <a:xfrm>
            <a:off x="475815" y="1329929"/>
            <a:ext cx="3782918" cy="343614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7" name="Tijdelijke aanduiding voor inhoud 6"/>
          <p:cNvSpPr>
            <a:spLocks noGrp="1"/>
          </p:cNvSpPr>
          <p:nvPr>
            <p:ph sz="quarter" idx="12"/>
          </p:nvPr>
        </p:nvSpPr>
        <p:spPr>
          <a:xfrm>
            <a:off x="4487334" y="1329929"/>
            <a:ext cx="3793067" cy="343614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124522774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 met kolomkopj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smtClean="0"/>
              <a:t>Klik om een titel te maken</a:t>
            </a:r>
            <a:endParaRPr lang="nl-NL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/>
              <a:pPr/>
              <a:t>‹nr.›</a:t>
            </a:fld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1"/>
          </p:nvPr>
        </p:nvSpPr>
        <p:spPr>
          <a:xfrm>
            <a:off x="475815" y="1663700"/>
            <a:ext cx="3782918" cy="310237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7" name="Tijdelijke aanduiding voor inhoud 6"/>
          <p:cNvSpPr>
            <a:spLocks noGrp="1"/>
          </p:cNvSpPr>
          <p:nvPr>
            <p:ph sz="quarter" idx="12"/>
          </p:nvPr>
        </p:nvSpPr>
        <p:spPr>
          <a:xfrm>
            <a:off x="4487334" y="1663700"/>
            <a:ext cx="3793067" cy="310237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475815" y="1346598"/>
            <a:ext cx="3783448" cy="316706"/>
          </a:xfrm>
        </p:spPr>
        <p:txBody>
          <a:bodyPr>
            <a:noAutofit/>
          </a:bodyPr>
          <a:lstStyle>
            <a:lvl1pPr marL="0" indent="0">
              <a:buNone/>
              <a:defRPr sz="1800" b="1" i="1">
                <a:solidFill>
                  <a:srgbClr val="FF6600"/>
                </a:solidFill>
              </a:defRPr>
            </a:lvl1pPr>
          </a:lstStyle>
          <a:p>
            <a:pPr lvl="0"/>
            <a:r>
              <a:rPr lang="nl-NL" dirty="0"/>
              <a:t>Klik om een </a:t>
            </a:r>
            <a:r>
              <a:rPr lang="nl-NL" dirty="0" err="1"/>
              <a:t>kolomkop</a:t>
            </a:r>
            <a:r>
              <a:rPr lang="nl-NL" dirty="0"/>
              <a:t> te maken</a:t>
            </a:r>
          </a:p>
        </p:txBody>
      </p:sp>
      <p:sp>
        <p:nvSpPr>
          <p:cNvPr id="8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4487334" y="1346598"/>
            <a:ext cx="3793067" cy="316706"/>
          </a:xfrm>
        </p:spPr>
        <p:txBody>
          <a:bodyPr>
            <a:noAutofit/>
          </a:bodyPr>
          <a:lstStyle>
            <a:lvl1pPr marL="0" indent="0">
              <a:buNone/>
              <a:defRPr sz="1800" b="1" i="1">
                <a:solidFill>
                  <a:srgbClr val="FF6600"/>
                </a:solidFill>
              </a:defRPr>
            </a:lvl1pPr>
          </a:lstStyle>
          <a:p>
            <a:pPr lvl="0"/>
            <a:r>
              <a:rPr lang="nl-NL"/>
              <a:t>Klik om een kolomkop te maken</a:t>
            </a:r>
          </a:p>
        </p:txBody>
      </p:sp>
      <p:sp>
        <p:nvSpPr>
          <p:cNvPr id="9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240222584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 breed/s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smtClean="0"/>
              <a:t>Klik om een titel te maken</a:t>
            </a:r>
            <a:endParaRPr lang="nl-NL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/>
              <a:pPr/>
              <a:t>‹nr.›</a:t>
            </a:fld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1"/>
          </p:nvPr>
        </p:nvSpPr>
        <p:spPr>
          <a:xfrm>
            <a:off x="475815" y="1329929"/>
            <a:ext cx="5019052" cy="343614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7" name="Tijdelijke aanduiding voor inhoud 6"/>
          <p:cNvSpPr>
            <a:spLocks noGrp="1"/>
          </p:cNvSpPr>
          <p:nvPr>
            <p:ph sz="quarter" idx="12"/>
          </p:nvPr>
        </p:nvSpPr>
        <p:spPr>
          <a:xfrm>
            <a:off x="5731934" y="1329929"/>
            <a:ext cx="2548466" cy="343614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 dirty="0"/>
          </a:p>
        </p:txBody>
      </p:sp>
      <p:sp>
        <p:nvSpPr>
          <p:cNvPr id="6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26860462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 smal/br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smtClean="0"/>
              <a:t>Klik om een titel te maken</a:t>
            </a:r>
            <a:endParaRPr lang="nl-NL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/>
              <a:pPr/>
              <a:t>‹nr.›</a:t>
            </a:fld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1"/>
          </p:nvPr>
        </p:nvSpPr>
        <p:spPr>
          <a:xfrm>
            <a:off x="475815" y="1329929"/>
            <a:ext cx="2538318" cy="343614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7" name="Tijdelijke aanduiding voor inhoud 6"/>
          <p:cNvSpPr>
            <a:spLocks noGrp="1"/>
          </p:cNvSpPr>
          <p:nvPr>
            <p:ph sz="quarter" idx="12"/>
          </p:nvPr>
        </p:nvSpPr>
        <p:spPr>
          <a:xfrm>
            <a:off x="3259668" y="1329929"/>
            <a:ext cx="5020733" cy="343614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26127144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smtClean="0"/>
              <a:t>Klik om een titel te maken</a:t>
            </a:r>
            <a:endParaRPr lang="nl-NL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/>
              <a:pPr/>
              <a:t>‹nr.›</a:t>
            </a:fld>
            <a:endParaRPr lang="nl-NL"/>
          </a:p>
        </p:txBody>
      </p:sp>
      <p:sp>
        <p:nvSpPr>
          <p:cNvPr id="7" name="Tijdelijke aanduiding voor inhoud 6"/>
          <p:cNvSpPr>
            <a:spLocks noGrp="1"/>
          </p:cNvSpPr>
          <p:nvPr>
            <p:ph sz="quarter" idx="12"/>
          </p:nvPr>
        </p:nvSpPr>
        <p:spPr>
          <a:xfrm>
            <a:off x="3150466" y="1329929"/>
            <a:ext cx="2448000" cy="343614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inhoud 6"/>
          <p:cNvSpPr>
            <a:spLocks noGrp="1"/>
          </p:cNvSpPr>
          <p:nvPr>
            <p:ph sz="quarter" idx="13"/>
          </p:nvPr>
        </p:nvSpPr>
        <p:spPr>
          <a:xfrm>
            <a:off x="5832400" y="1329929"/>
            <a:ext cx="2448000" cy="343614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8" name="Tijdelijke aanduiding voor inhoud 6"/>
          <p:cNvSpPr>
            <a:spLocks noGrp="1"/>
          </p:cNvSpPr>
          <p:nvPr>
            <p:ph sz="quarter" idx="14"/>
          </p:nvPr>
        </p:nvSpPr>
        <p:spPr>
          <a:xfrm>
            <a:off x="475815" y="1329929"/>
            <a:ext cx="2448000" cy="343614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9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369601930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>
          <a:xfrm>
            <a:off x="7637464" y="4862517"/>
            <a:ext cx="642937" cy="204788"/>
          </a:xfrm>
        </p:spPr>
        <p:txBody>
          <a:bodyPr/>
          <a:lstStyle/>
          <a:p>
            <a:fld id="{4821C4A5-98F2-7545-875B-39B2F4500447}" type="slidenum">
              <a:rPr/>
              <a:pPr/>
              <a:t>‹nr.›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19923422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5814" y="191292"/>
            <a:ext cx="7042586" cy="87550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endParaRPr lang="nl-NL" dirty="0"/>
          </a:p>
        </p:txBody>
      </p:sp>
      <p:sp>
        <p:nvSpPr>
          <p:cNvPr id="5" name="Kader 4" hidden="1"/>
          <p:cNvSpPr/>
          <p:nvPr/>
        </p:nvSpPr>
        <p:spPr>
          <a:xfrm>
            <a:off x="-540568" y="-408592"/>
            <a:ext cx="10225136" cy="5960686"/>
          </a:xfrm>
          <a:prstGeom prst="frame">
            <a:avLst>
              <a:gd name="adj1" fmla="val 6674"/>
            </a:avLst>
          </a:prstGeom>
          <a:noFill/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36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4"/>
          </p:nvPr>
        </p:nvSpPr>
        <p:spPr>
          <a:xfrm>
            <a:off x="7637464" y="4862517"/>
            <a:ext cx="642937" cy="2047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200">
                <a:solidFill>
                  <a:srgbClr val="7F7F7F"/>
                </a:solidFill>
              </a:defRPr>
            </a:lvl1pPr>
          </a:lstStyle>
          <a:p>
            <a:fld id="{4821C4A5-98F2-7545-875B-39B2F4500447}" type="slidenum">
              <a:rPr lang="nl-NL"/>
              <a:pPr/>
              <a:t>‹nr.›</a:t>
            </a:fld>
            <a:endParaRPr lang="nl-NL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idx="1"/>
          </p:nvPr>
        </p:nvSpPr>
        <p:spPr>
          <a:xfrm>
            <a:off x="475812" y="1337072"/>
            <a:ext cx="7804588" cy="3429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om</a:t>
            </a:r>
            <a:r>
              <a:rPr lang="en-US" dirty="0"/>
              <a:t>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5"/>
            <a:r>
              <a:rPr lang="en-US" dirty="0" err="1"/>
              <a:t>Zes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6"/>
            <a:r>
              <a:rPr lang="en-US" dirty="0" err="1"/>
              <a:t>Zeven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pic>
        <p:nvPicPr>
          <p:cNvPr id="3" name="Afbeelding 2" descr="RB_logo_rgb.png"/>
          <p:cNvPicPr>
            <a:picLocks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939840" y="273600"/>
            <a:ext cx="612000" cy="755999"/>
          </a:xfrm>
          <a:prstGeom prst="rect">
            <a:avLst/>
          </a:prstGeom>
        </p:spPr>
      </p:pic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862517"/>
            <a:ext cx="7042588" cy="20478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="" val="3772061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9" r:id="rId3"/>
    <p:sldLayoutId id="2147483651" r:id="rId4"/>
    <p:sldLayoutId id="2147483662" r:id="rId5"/>
    <p:sldLayoutId id="2147483663" r:id="rId6"/>
    <p:sldLayoutId id="2147483664" r:id="rId7"/>
    <p:sldLayoutId id="2147483670" r:id="rId8"/>
    <p:sldLayoutId id="2147483659" r:id="rId9"/>
    <p:sldLayoutId id="2147483654" r:id="rId10"/>
    <p:sldLayoutId id="2147483671" r:id="rId11"/>
    <p:sldLayoutId id="2147483672" r:id="rId12"/>
    <p:sldLayoutId id="2147483675" r:id="rId13"/>
    <p:sldLayoutId id="2147483676" r:id="rId14"/>
    <p:sldLayoutId id="2147483677" r:id="rId15"/>
    <p:sldLayoutId id="2147483678" r:id="rId16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6999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2"/>
          </a:solidFill>
          <a:latin typeface="+mj-lt"/>
          <a:ea typeface="+mj-ea"/>
          <a:cs typeface="Myriad Pro Light"/>
        </a:defRPr>
      </a:lvl1pPr>
    </p:titleStyle>
    <p:bodyStyle>
      <a:lvl1pPr marL="220663" marR="0" indent="-220663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2"/>
        </a:buClr>
        <a:buSzPct val="90000"/>
        <a:buFont typeface="Lucida Grande"/>
        <a:buChar char="•"/>
        <a:tabLst/>
        <a:defRPr kumimoji="0" lang="nl-NL" sz="20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Myriad Pro Light" pitchFamily="34" charset="0"/>
        </a:defRPr>
      </a:lvl1pPr>
      <a:lvl2pPr marL="449263" marR="0" indent="-246063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Pct val="90000"/>
        <a:buFont typeface="Lucida Grande"/>
        <a:buChar char="•"/>
        <a:tabLst/>
        <a:defRPr kumimoji="0" lang="nl-NL" sz="1800" b="0" i="0" u="none" strike="noStrike" kern="1200" cap="none" spc="0" normalizeH="0" baseline="0" noProof="0">
          <a:ln>
            <a:noFill/>
          </a:ln>
          <a:solidFill>
            <a:srgbClr val="000000"/>
          </a:solidFill>
          <a:effectLst/>
          <a:uLnTx/>
          <a:uFillTx/>
          <a:latin typeface="+mn-lt"/>
          <a:ea typeface="+mn-ea"/>
          <a:cs typeface="Myriad Pro Light" pitchFamily="34" charset="0"/>
        </a:defRPr>
      </a:lvl2pPr>
      <a:lvl3pPr marL="627063" marR="0" indent="-1778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accent2"/>
        </a:buClr>
        <a:buSzPct val="90000"/>
        <a:buFont typeface="Lucida Grande"/>
        <a:buChar char="•"/>
        <a:tabLst/>
        <a:defRPr kumimoji="0" lang="nl-NL" sz="1600" b="0" i="0" u="none" strike="noStrike" kern="1200" cap="none" spc="0" normalizeH="0" baseline="0" noProof="0">
          <a:ln>
            <a:noFill/>
          </a:ln>
          <a:solidFill>
            <a:prstClr val="black"/>
          </a:solidFill>
          <a:effectLst/>
          <a:uLnTx/>
          <a:uFillTx/>
          <a:latin typeface="+mn-lt"/>
          <a:ea typeface="+mn-ea"/>
          <a:cs typeface="Mongolian Baiti" pitchFamily="66" charset="0"/>
        </a:defRPr>
      </a:lvl3pPr>
      <a:lvl4pPr marL="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FF6600"/>
        </a:buClr>
        <a:buSzTx/>
        <a:buFont typeface="Arial" pitchFamily="34" charset="0"/>
        <a:buNone/>
        <a:tabLst/>
        <a:defRPr kumimoji="0" lang="nl-NL" sz="2000" b="1" i="1" u="none" strike="noStrike" kern="1200" cap="none" spc="0" normalizeH="0" baseline="0" noProof="0">
          <a:ln>
            <a:noFill/>
          </a:ln>
          <a:solidFill>
            <a:schemeClr val="accent2"/>
          </a:solidFill>
          <a:effectLst/>
          <a:uLnTx/>
          <a:uFillTx/>
          <a:latin typeface="+mn-lt"/>
          <a:ea typeface="+mn-ea"/>
          <a:cs typeface="Mongolian Baiti" pitchFamily="66" charset="0"/>
        </a:defRPr>
      </a:lvl4pPr>
      <a:lvl5pPr marL="1588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/>
        <a:buNone/>
        <a:tabLst/>
        <a:defRPr kumimoji="0" lang="nl-NL" sz="1800" b="1" i="1" u="none" strike="noStrike" kern="1200" cap="none" spc="0" normalizeH="0" baseline="0" noProof="0">
          <a:ln>
            <a:noFill/>
          </a:ln>
          <a:solidFill>
            <a:schemeClr val="tx2"/>
          </a:solidFill>
          <a:effectLst/>
          <a:uLnTx/>
          <a:uFillTx/>
          <a:latin typeface="+mn-lt"/>
          <a:ea typeface="+mn-ea"/>
          <a:cs typeface="Mongolian Baiti" pitchFamily="66" charset="0"/>
        </a:defRPr>
      </a:lvl5pPr>
      <a:lvl6pPr marL="177800" indent="-177800" algn="l" defTabSz="456999" rtl="0" eaLnBrk="1" latinLnBrk="0" hangingPunct="1">
        <a:lnSpc>
          <a:spcPct val="9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7800" indent="-177800" algn="l" defTabSz="456999" rtl="0" eaLnBrk="1" latinLnBrk="0" hangingPunct="1">
        <a:lnSpc>
          <a:spcPct val="9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95" indent="-228500" algn="l" defTabSz="45699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95" indent="-228500" algn="l" defTabSz="45699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9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99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98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97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97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97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95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95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5.jpeg"/><Relationship Id="rId3" Type="http://schemas.openxmlformats.org/officeDocument/2006/relationships/tags" Target="../tags/tag4.xml"/><Relationship Id="rId7" Type="http://schemas.openxmlformats.org/officeDocument/2006/relationships/notesSlide" Target="../notesSlides/notesSlide3.xml"/><Relationship Id="rId12" Type="http://schemas.openxmlformats.org/officeDocument/2006/relationships/image" Target="../media/image14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9.xml"/><Relationship Id="rId11" Type="http://schemas.openxmlformats.org/officeDocument/2006/relationships/hyperlink" Target="http://www.google.co.uk/url?sa=i&amp;rct=j&amp;q=&amp;esrc=s&amp;frm=1&amp;source=images&amp;cd=&amp;cad=rja&amp;uact=8&amp;docid=u2CkyQjTiEyeNM&amp;tbnid=j7gGHWPKW-KwjM:&amp;ved=0CAUQjRw&amp;url=http://www.joostink-ad.nl/vitaliteit-voor-duuzame-inzetbaarheid&amp;ei=yqXsU9WQN4XbPZiZgKAB&amp;psig=AFQjCNESavw0-fxdCqcB3IfsU5k7N7lJVw&amp;ust=1408104205871906" TargetMode="External"/><Relationship Id="rId5" Type="http://schemas.openxmlformats.org/officeDocument/2006/relationships/tags" Target="../tags/tag6.xml"/><Relationship Id="rId10" Type="http://schemas.openxmlformats.org/officeDocument/2006/relationships/image" Target="../media/image13.jpeg"/><Relationship Id="rId4" Type="http://schemas.openxmlformats.org/officeDocument/2006/relationships/tags" Target="../tags/tag5.xml"/><Relationship Id="rId9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1_4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Rechthoek 1"/>
          <p:cNvSpPr/>
          <p:nvPr/>
        </p:nvSpPr>
        <p:spPr>
          <a:xfrm>
            <a:off x="1" y="3411487"/>
            <a:ext cx="9144000" cy="17320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 smtClean="0">
              <a:solidFill>
                <a:srgbClr val="000000"/>
              </a:solidFill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5892801" y="3428327"/>
            <a:ext cx="194334" cy="409137"/>
          </a:xfrm>
          <a:prstGeom prst="rect">
            <a:avLst/>
          </a:prstGeom>
          <a:solidFill>
            <a:srgbClr val="FF4D00"/>
          </a:solidFill>
          <a:ln w="190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36000" rIns="9144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Regular"/>
              <a:ea typeface="+mn-ea"/>
              <a:cs typeface="MyriadRegular"/>
            </a:endParaRPr>
          </a:p>
        </p:txBody>
      </p:sp>
      <p:sp>
        <p:nvSpPr>
          <p:cNvPr id="7" name="Ondertitel 6"/>
          <p:cNvSpPr>
            <a:spLocks noGrp="1"/>
          </p:cNvSpPr>
          <p:nvPr>
            <p:ph type="subTitle" idx="1"/>
          </p:nvPr>
        </p:nvSpPr>
        <p:spPr>
          <a:xfrm>
            <a:off x="2019191" y="3428327"/>
            <a:ext cx="4067825" cy="765042"/>
          </a:xfrm>
        </p:spPr>
        <p:txBody>
          <a:bodyPr anchor="ctr"/>
          <a:lstStyle/>
          <a:p>
            <a:r>
              <a:rPr lang="en-US" sz="2400" b="0" i="0" dirty="0" smtClean="0">
                <a:latin typeface="Myriad-Italic"/>
                <a:cs typeface="Myriad-Italic"/>
              </a:rPr>
              <a:t>Ruud Huirne, F&amp;A Nederland</a:t>
            </a:r>
            <a:endParaRPr lang="nl-NL" sz="2400" b="0" i="0" dirty="0">
              <a:latin typeface="Myriad-Italic"/>
              <a:cs typeface="Myriad-Italic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-119529" y="2429302"/>
            <a:ext cx="6206545" cy="999026"/>
          </a:xfrm>
          <a:solidFill>
            <a:schemeClr val="accent1"/>
          </a:solidFill>
        </p:spPr>
        <p:txBody>
          <a:bodyPr/>
          <a:lstStyle/>
          <a:p>
            <a:pPr algn="l"/>
            <a:r>
              <a:rPr lang="nl-NL" sz="2800" b="1" dirty="0" smtClean="0">
                <a:cs typeface="MyriadLight"/>
              </a:rPr>
              <a:t>Internationaal ondernemen</a:t>
            </a:r>
            <a:endParaRPr lang="nl-NL" sz="2800" b="1" dirty="0">
              <a:cs typeface="MyriadLight"/>
            </a:endParaRPr>
          </a:p>
        </p:txBody>
      </p:sp>
      <p:pic>
        <p:nvPicPr>
          <p:cNvPr id="11" name="Afbeelding 10" descr="RB_logo_rgb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524328" y="3579862"/>
            <a:ext cx="1259631" cy="145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885062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Huidig beeld NL agrarische sector </a:t>
            </a:r>
            <a:endParaRPr lang="nl-NL" dirty="0"/>
          </a:p>
        </p:txBody>
      </p:sp>
      <p:sp>
        <p:nvSpPr>
          <p:cNvPr id="4" name="Tijdelijke aanduiding voor inhoud 2"/>
          <p:cNvSpPr txBox="1">
            <a:spLocks/>
          </p:cNvSpPr>
          <p:nvPr/>
        </p:nvSpPr>
        <p:spPr bwMode="auto">
          <a:xfrm>
            <a:off x="771525" y="1314450"/>
            <a:ext cx="7977188" cy="260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39713" indent="-2397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buFont typeface="Times" pitchFamily="18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2000" indent="-2809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238250" indent="-2809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1714500" indent="-2857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defRPr>
                <a:solidFill>
                  <a:schemeClr val="tx1"/>
                </a:solidFill>
                <a:latin typeface="+mn-lt"/>
              </a:defRPr>
            </a:lvl4pPr>
            <a:lvl5pPr marL="2190750" indent="-2857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defRPr>
                <a:solidFill>
                  <a:schemeClr val="tx1"/>
                </a:solidFill>
                <a:latin typeface="+mn-lt"/>
              </a:defRPr>
            </a:lvl5pPr>
            <a:lvl6pPr marL="2647950" indent="-2857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defRPr>
                <a:solidFill>
                  <a:schemeClr val="tx1"/>
                </a:solidFill>
                <a:latin typeface="+mn-lt"/>
              </a:defRPr>
            </a:lvl6pPr>
            <a:lvl7pPr marL="3105150" indent="-2857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defRPr>
                <a:solidFill>
                  <a:schemeClr val="tx1"/>
                </a:solidFill>
                <a:latin typeface="+mn-lt"/>
              </a:defRPr>
            </a:lvl7pPr>
            <a:lvl8pPr marL="3562350" indent="-2857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defRPr>
                <a:solidFill>
                  <a:schemeClr val="tx1"/>
                </a:solidFill>
                <a:latin typeface="+mn-lt"/>
              </a:defRPr>
            </a:lvl8pPr>
            <a:lvl9pPr marL="4019550" indent="-28575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SzPct val="120000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301625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Times" pitchFamily="18" charset="0"/>
              <a:buChar char="•"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01625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Times" pitchFamily="18" charset="0"/>
              <a:buChar char="•"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01625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Times" pitchFamily="18" charset="0"/>
              <a:buChar char="•"/>
              <a:tabLst/>
              <a:defRPr/>
            </a:pPr>
            <a:r>
              <a:rPr kumimoji="0" lang="nl-NL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xportgericht, hoge kwaliteit, innovatief</a:t>
            </a:r>
          </a:p>
          <a:p>
            <a:pPr marL="301625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Times" pitchFamily="18" charset="0"/>
              <a:buChar char="•"/>
              <a:tabLst/>
              <a:defRPr/>
            </a:pPr>
            <a:r>
              <a:rPr kumimoji="0" lang="nl-NL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ltijd een stap eerder</a:t>
            </a:r>
          </a:p>
          <a:p>
            <a:pPr marL="301625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Times" pitchFamily="18" charset="0"/>
              <a:buChar char="•"/>
              <a:tabLst/>
              <a:defRPr/>
            </a:pPr>
            <a:r>
              <a:rPr kumimoji="0" lang="nl-NL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et onmogelijke is in Nederland mogelijk</a:t>
            </a:r>
          </a:p>
          <a:p>
            <a:pPr marL="301625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Times" pitchFamily="18" charset="0"/>
              <a:buChar char="•"/>
              <a:tabLst/>
              <a:defRPr/>
            </a:pPr>
            <a:r>
              <a:rPr kumimoji="0" lang="nl-NL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oncurrentiekracht</a:t>
            </a:r>
          </a:p>
          <a:p>
            <a:pPr marL="301625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Times" pitchFamily="18" charset="0"/>
              <a:buChar char="•"/>
              <a:tabLst/>
              <a:defRPr/>
            </a:pPr>
            <a:r>
              <a:rPr kumimoji="0" lang="nl-NL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Onderscheidend vermogen</a:t>
            </a:r>
          </a:p>
          <a:p>
            <a:pPr marL="301625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Times" pitchFamily="18" charset="0"/>
              <a:buChar char="•"/>
              <a:tabLst/>
              <a:defRPr/>
            </a:pPr>
            <a:r>
              <a:rPr kumimoji="0" lang="nl-NL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Kennis</a:t>
            </a:r>
          </a:p>
          <a:p>
            <a:pPr marL="301625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 typeface="Times" pitchFamily="18" charset="0"/>
              <a:buChar char="•"/>
              <a:tabLst/>
              <a:defRPr/>
            </a:pPr>
            <a:endParaRPr kumimoji="0" lang="nl-NL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5" name="Groep 4"/>
          <p:cNvGrpSpPr/>
          <p:nvPr/>
        </p:nvGrpSpPr>
        <p:grpSpPr>
          <a:xfrm>
            <a:off x="5758690" y="3219822"/>
            <a:ext cx="3214948" cy="1512018"/>
            <a:chOff x="5758690" y="4293096"/>
            <a:chExt cx="3214948" cy="2016024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288" y="4293096"/>
              <a:ext cx="1809350" cy="180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8690" y="4509120"/>
              <a:ext cx="1809350" cy="180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2602353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3" descr="p-041914_Presentatie Banking4Food_Camille van de Sande_zonder tekst8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51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76250" y="191691"/>
            <a:ext cx="7804150" cy="875109"/>
          </a:xfrm>
        </p:spPr>
        <p:txBody>
          <a:bodyPr/>
          <a:lstStyle/>
          <a:p>
            <a:pPr algn="l" eaLnBrk="1" hangingPunct="1">
              <a:defRPr/>
            </a:pPr>
            <a:r>
              <a:rPr lang="en-GB" altLang="nl-NL" dirty="0" smtClean="0">
                <a:solidFill>
                  <a:schemeClr val="accent1">
                    <a:lumMod val="75000"/>
                  </a:schemeClr>
                </a:solidFill>
                <a:latin typeface="Corbel" pitchFamily="34" charset="0"/>
              </a:rPr>
              <a:t>Trends in </a:t>
            </a:r>
            <a:r>
              <a:rPr lang="en-GB" altLang="nl-NL" dirty="0" err="1" smtClean="0">
                <a:solidFill>
                  <a:schemeClr val="accent1">
                    <a:lumMod val="75000"/>
                  </a:schemeClr>
                </a:solidFill>
                <a:latin typeface="Corbel" pitchFamily="34" charset="0"/>
              </a:rPr>
              <a:t>mondiale</a:t>
            </a:r>
            <a:r>
              <a:rPr lang="en-GB" altLang="nl-NL" dirty="0" smtClean="0">
                <a:solidFill>
                  <a:schemeClr val="accent1">
                    <a:lumMod val="75000"/>
                  </a:schemeClr>
                </a:solidFill>
                <a:latin typeface="Corbel" pitchFamily="34" charset="0"/>
              </a:rPr>
              <a:t> </a:t>
            </a:r>
            <a:r>
              <a:rPr lang="en-GB" altLang="nl-NL" dirty="0" err="1" smtClean="0">
                <a:solidFill>
                  <a:schemeClr val="accent1">
                    <a:lumMod val="75000"/>
                  </a:schemeClr>
                </a:solidFill>
                <a:latin typeface="Corbel" pitchFamily="34" charset="0"/>
              </a:rPr>
              <a:t>voedselproductie</a:t>
            </a:r>
            <a:endParaRPr lang="en-GB" altLang="nl-NL" dirty="0" smtClean="0">
              <a:solidFill>
                <a:schemeClr val="accent1">
                  <a:lumMod val="75000"/>
                </a:schemeClr>
              </a:solidFill>
              <a:latin typeface="Corbe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1BBE77-708D-4707-B505-C3D8B3BD6B3C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  <p:sp>
        <p:nvSpPr>
          <p:cNvPr id="6" name="Rectangle 101"/>
          <p:cNvSpPr/>
          <p:nvPr/>
        </p:nvSpPr>
        <p:spPr>
          <a:xfrm>
            <a:off x="1870227" y="3269417"/>
            <a:ext cx="1462316" cy="51921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4" tIns="35988" rIns="71974" bIns="35988" rtlCol="0" anchor="ctr"/>
          <a:lstStyle/>
          <a:p>
            <a:pPr algn="ctr" defTabSz="914064" fontAlgn="base">
              <a:spcBef>
                <a:spcPct val="0"/>
              </a:spcBef>
              <a:spcAft>
                <a:spcPct val="0"/>
              </a:spcAft>
            </a:pPr>
            <a:r>
              <a:rPr lang="nl-NL" sz="1100" b="1" dirty="0" smtClean="0">
                <a:solidFill>
                  <a:srgbClr val="FFFFFF"/>
                </a:solidFill>
              </a:rPr>
              <a:t>Beschikbaarheid van voedsel vergroten</a:t>
            </a:r>
            <a:endParaRPr lang="nl-NL" sz="1100" b="1" dirty="0">
              <a:solidFill>
                <a:srgbClr val="FFFFFF"/>
              </a:solidFill>
            </a:endParaRPr>
          </a:p>
        </p:txBody>
      </p:sp>
      <p:sp>
        <p:nvSpPr>
          <p:cNvPr id="7" name="Rectangle 102"/>
          <p:cNvSpPr/>
          <p:nvPr/>
        </p:nvSpPr>
        <p:spPr>
          <a:xfrm>
            <a:off x="3465481" y="3269417"/>
            <a:ext cx="1462316" cy="519217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4" tIns="35988" rIns="71974" bIns="35988" rtlCol="0" anchor="ctr"/>
          <a:lstStyle/>
          <a:p>
            <a:pPr algn="ctr" defTabSz="914064" fontAlgn="base">
              <a:spcBef>
                <a:spcPct val="0"/>
              </a:spcBef>
              <a:spcAft>
                <a:spcPct val="0"/>
              </a:spcAft>
            </a:pPr>
            <a:r>
              <a:rPr lang="nl-NL" sz="1100" b="1" dirty="0" smtClean="0">
                <a:solidFill>
                  <a:srgbClr val="FFFFFF"/>
                </a:solidFill>
              </a:rPr>
              <a:t>Toegang</a:t>
            </a:r>
          </a:p>
          <a:p>
            <a:pPr algn="ctr" defTabSz="914064" fontAlgn="base">
              <a:spcBef>
                <a:spcPct val="0"/>
              </a:spcBef>
              <a:spcAft>
                <a:spcPct val="0"/>
              </a:spcAft>
            </a:pPr>
            <a:r>
              <a:rPr lang="nl-NL" sz="1100" dirty="0" smtClean="0">
                <a:solidFill>
                  <a:srgbClr val="FFFFFF"/>
                </a:solidFill>
              </a:rPr>
              <a:t>tot voedsel verbeteren</a:t>
            </a:r>
            <a:endParaRPr lang="nl-NL" sz="1100" dirty="0">
              <a:solidFill>
                <a:srgbClr val="FFFFFF"/>
              </a:solidFill>
            </a:endParaRPr>
          </a:p>
        </p:txBody>
      </p:sp>
      <p:sp>
        <p:nvSpPr>
          <p:cNvPr id="8" name="Rectangle 104"/>
          <p:cNvSpPr/>
          <p:nvPr/>
        </p:nvSpPr>
        <p:spPr>
          <a:xfrm>
            <a:off x="1870226" y="3816004"/>
            <a:ext cx="4652826" cy="260719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4" tIns="35988" rIns="71974" bIns="35988" rtlCol="0" anchor="ctr"/>
          <a:lstStyle/>
          <a:p>
            <a:pPr algn="ctr" defTabSz="914064" fontAlgn="base">
              <a:spcBef>
                <a:spcPct val="0"/>
              </a:spcBef>
              <a:spcAft>
                <a:spcPct val="0"/>
              </a:spcAft>
            </a:pPr>
            <a:r>
              <a:rPr lang="nl-NL" sz="1100" b="1" dirty="0" smtClean="0">
                <a:solidFill>
                  <a:srgbClr val="FFFFFF"/>
                </a:solidFill>
              </a:rPr>
              <a:t>Stabiliteit verbeteren</a:t>
            </a:r>
            <a:endParaRPr lang="nl-NL" sz="1100" dirty="0">
              <a:solidFill>
                <a:srgbClr val="FFFFFF"/>
              </a:solidFill>
            </a:endParaRPr>
          </a:p>
        </p:txBody>
      </p:sp>
      <p:sp>
        <p:nvSpPr>
          <p:cNvPr id="9" name="Rectangle 103"/>
          <p:cNvSpPr/>
          <p:nvPr/>
        </p:nvSpPr>
        <p:spPr>
          <a:xfrm>
            <a:off x="5060736" y="3269414"/>
            <a:ext cx="1462316" cy="51922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4" tIns="35988" rIns="71974" bIns="35988" rtlCol="0" anchor="ctr"/>
          <a:lstStyle/>
          <a:p>
            <a:pPr algn="ctr" defTabSz="914064" fontAlgn="base">
              <a:spcBef>
                <a:spcPct val="0"/>
              </a:spcBef>
              <a:spcAft>
                <a:spcPct val="0"/>
              </a:spcAft>
            </a:pPr>
            <a:r>
              <a:rPr lang="nl-NL" sz="1100" b="1" dirty="0" smtClean="0">
                <a:solidFill>
                  <a:srgbClr val="FFFFFF"/>
                </a:solidFill>
              </a:rPr>
              <a:t>Evenwichtige voeding </a:t>
            </a:r>
            <a:r>
              <a:rPr lang="nl-NL" sz="1100" dirty="0" smtClean="0">
                <a:solidFill>
                  <a:srgbClr val="FFFFFF"/>
                </a:solidFill>
              </a:rPr>
              <a:t>stimuleren</a:t>
            </a:r>
            <a:endParaRPr lang="nl-NL" sz="11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02481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err="1" smtClean="0">
                <a:solidFill>
                  <a:schemeClr val="accent1"/>
                </a:solidFill>
                <a:latin typeface="Corbel" panose="020B0503020204020204" pitchFamily="34" charset="0"/>
              </a:rPr>
              <a:t>Essentiële</a:t>
            </a:r>
            <a:r>
              <a:rPr lang="en-GB" sz="2800" dirty="0" smtClean="0">
                <a:solidFill>
                  <a:schemeClr val="accent1"/>
                </a:solidFill>
                <a:latin typeface="Corbel" panose="020B0503020204020204" pitchFamily="34" charset="0"/>
              </a:rPr>
              <a:t> </a:t>
            </a:r>
            <a:r>
              <a:rPr lang="en-GB" sz="2800" dirty="0" err="1" smtClean="0">
                <a:solidFill>
                  <a:schemeClr val="accent1"/>
                </a:solidFill>
                <a:latin typeface="Corbel" panose="020B0503020204020204" pitchFamily="34" charset="0"/>
              </a:rPr>
              <a:t>thema’s</a:t>
            </a:r>
            <a:r>
              <a:rPr lang="en-GB" sz="2800" dirty="0" smtClean="0">
                <a:solidFill>
                  <a:schemeClr val="accent1"/>
                </a:solidFill>
                <a:latin typeface="Corbel" panose="020B0503020204020204" pitchFamily="34" charset="0"/>
              </a:rPr>
              <a:t> </a:t>
            </a:r>
            <a:r>
              <a:rPr lang="en-GB" sz="2800" dirty="0" err="1" smtClean="0">
                <a:solidFill>
                  <a:schemeClr val="accent1"/>
                </a:solidFill>
                <a:latin typeface="Corbel" panose="020B0503020204020204" pitchFamily="34" charset="0"/>
              </a:rPr>
              <a:t>voor</a:t>
            </a:r>
            <a:r>
              <a:rPr lang="en-GB" sz="2800" dirty="0" smtClean="0">
                <a:solidFill>
                  <a:schemeClr val="accent1"/>
                </a:solidFill>
                <a:latin typeface="Corbel" panose="020B0503020204020204" pitchFamily="34" charset="0"/>
              </a:rPr>
              <a:t>  NL</a:t>
            </a:r>
            <a:endParaRPr lang="en-GB" sz="2800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 lang="nl-NL" sz="1050" smtClean="0"/>
              <a:pPr/>
              <a:t>4</a:t>
            </a:fld>
            <a:endParaRPr lang="nl-NL" sz="1050" dirty="0"/>
          </a:p>
        </p:txBody>
      </p:sp>
      <p:grpSp>
        <p:nvGrpSpPr>
          <p:cNvPr id="4" name="Group 3"/>
          <p:cNvGrpSpPr/>
          <p:nvPr/>
        </p:nvGrpSpPr>
        <p:grpSpPr>
          <a:xfrm>
            <a:off x="466727" y="1280688"/>
            <a:ext cx="8025920" cy="3484988"/>
            <a:chOff x="239714" y="1947354"/>
            <a:chExt cx="4756394" cy="2818321"/>
          </a:xfrm>
        </p:grpSpPr>
        <p:sp>
          <p:nvSpPr>
            <p:cNvPr id="6" name="Rounded Rectangle 5"/>
            <p:cNvSpPr/>
            <p:nvPr>
              <p:custDataLst>
                <p:tags r:id="rId1"/>
              </p:custDataLst>
            </p:nvPr>
          </p:nvSpPr>
          <p:spPr>
            <a:xfrm>
              <a:off x="249380" y="1947354"/>
              <a:ext cx="2841350" cy="523876"/>
            </a:xfrm>
            <a:prstGeom prst="roundRect">
              <a:avLst>
                <a:gd name="adj" fmla="val 6953"/>
              </a:avLst>
            </a:prstGeom>
            <a:solidFill>
              <a:schemeClr val="bg2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indent="-342900" algn="ctr" defTabSz="914400">
                <a:lnSpc>
                  <a:spcPct val="110000"/>
                </a:lnSpc>
              </a:pPr>
              <a:r>
                <a:rPr lang="nl-NL" sz="1600" dirty="0"/>
                <a:t>1</a:t>
              </a:r>
              <a:r>
                <a:rPr lang="nl-NL" sz="1600" dirty="0" smtClean="0"/>
                <a:t>. </a:t>
              </a:r>
              <a:r>
                <a:rPr lang="nl-NL" sz="1600" b="1" dirty="0"/>
                <a:t>L</a:t>
              </a:r>
              <a:r>
                <a:rPr lang="nl-NL" sz="1600" b="1" dirty="0" smtClean="0"/>
                <a:t>angdurige </a:t>
              </a:r>
              <a:r>
                <a:rPr lang="nl-NL" sz="1600" b="1" dirty="0" smtClean="0">
                  <a:solidFill>
                    <a:schemeClr val="accent2"/>
                  </a:solidFill>
                </a:rPr>
                <a:t>rendabele</a:t>
              </a:r>
              <a:r>
                <a:rPr lang="nl-NL" sz="1600" b="1" dirty="0" smtClean="0"/>
                <a:t> bedrijfsvoering</a:t>
              </a:r>
              <a:endParaRPr lang="nl-NL" sz="1600" dirty="0"/>
            </a:p>
          </p:txBody>
        </p:sp>
        <p:sp>
          <p:nvSpPr>
            <p:cNvPr id="7" name="Rounded Rectangle 6"/>
            <p:cNvSpPr/>
            <p:nvPr>
              <p:custDataLst>
                <p:tags r:id="rId2"/>
              </p:custDataLst>
            </p:nvPr>
          </p:nvSpPr>
          <p:spPr>
            <a:xfrm>
              <a:off x="239714" y="3675657"/>
              <a:ext cx="2851018" cy="523876"/>
            </a:xfrm>
            <a:prstGeom prst="roundRect">
              <a:avLst>
                <a:gd name="adj" fmla="val 6953"/>
              </a:avLst>
            </a:prstGeom>
            <a:solidFill>
              <a:schemeClr val="bg2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indent="-342900" algn="ctr" defTabSz="914400">
                <a:lnSpc>
                  <a:spcPct val="110000"/>
                </a:lnSpc>
                <a:buClr>
                  <a:prstClr val="white"/>
                </a:buClr>
              </a:pPr>
              <a:r>
                <a:rPr lang="nl-NL" sz="1600" b="1" dirty="0" smtClean="0"/>
                <a:t>4. </a:t>
              </a:r>
              <a:r>
                <a:rPr lang="en-GB" sz="1600" b="1" dirty="0" err="1"/>
                <a:t>Bijdrage</a:t>
              </a:r>
              <a:r>
                <a:rPr lang="en-GB" sz="1600" b="1" dirty="0"/>
                <a:t> </a:t>
              </a:r>
              <a:r>
                <a:rPr lang="en-GB" sz="1600" b="1" dirty="0" err="1"/>
                <a:t>leveren</a:t>
              </a:r>
              <a:r>
                <a:rPr lang="en-GB" sz="1600" b="1" dirty="0"/>
                <a:t> </a:t>
              </a:r>
              <a:r>
                <a:rPr lang="en-GB" sz="1600" b="1" dirty="0" err="1"/>
                <a:t>aan</a:t>
              </a:r>
              <a:r>
                <a:rPr lang="en-GB" sz="1600" b="1" dirty="0"/>
                <a:t> </a:t>
              </a:r>
              <a:r>
                <a:rPr lang="en-GB" sz="1600" b="1" dirty="0" err="1"/>
                <a:t>vermijdbare</a:t>
              </a:r>
              <a:r>
                <a:rPr lang="en-GB" sz="1600" b="1" dirty="0"/>
                <a:t> </a:t>
              </a:r>
              <a:r>
                <a:rPr lang="en-GB" sz="1600" b="1" dirty="0" err="1" smtClean="0">
                  <a:solidFill>
                    <a:schemeClr val="accent2"/>
                  </a:solidFill>
                </a:rPr>
                <a:t>voedselverspilling</a:t>
              </a:r>
              <a:endParaRPr lang="nl-NL" sz="1600" b="1" dirty="0"/>
            </a:p>
          </p:txBody>
        </p:sp>
        <p:sp>
          <p:nvSpPr>
            <p:cNvPr id="8" name="Rounded Rectangle 7"/>
            <p:cNvSpPr/>
            <p:nvPr>
              <p:custDataLst>
                <p:tags r:id="rId3"/>
              </p:custDataLst>
            </p:nvPr>
          </p:nvSpPr>
          <p:spPr>
            <a:xfrm>
              <a:off x="239715" y="2518058"/>
              <a:ext cx="2851015" cy="523876"/>
            </a:xfrm>
            <a:prstGeom prst="roundRect">
              <a:avLst>
                <a:gd name="adj" fmla="val 6953"/>
              </a:avLst>
            </a:prstGeom>
            <a:solidFill>
              <a:schemeClr val="bg2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indent="-342900" algn="ctr" defTabSz="914400">
                <a:lnSpc>
                  <a:spcPct val="110000"/>
                </a:lnSpc>
              </a:pPr>
              <a:r>
                <a:rPr lang="nl-NL" sz="1600" b="1" dirty="0"/>
                <a:t>2</a:t>
              </a:r>
              <a:r>
                <a:rPr lang="nl-NL" sz="1600" b="1" dirty="0" smtClean="0"/>
                <a:t>. Behoud Nederlandse </a:t>
              </a:r>
              <a:r>
                <a:rPr lang="nl-NL" sz="1600" b="1" dirty="0" smtClean="0">
                  <a:solidFill>
                    <a:schemeClr val="accent2"/>
                  </a:solidFill>
                </a:rPr>
                <a:t>productiviteitsgroei</a:t>
              </a:r>
              <a:endParaRPr lang="nl-NL" sz="1600" b="1" dirty="0" smtClean="0"/>
            </a:p>
          </p:txBody>
        </p:sp>
        <p:sp>
          <p:nvSpPr>
            <p:cNvPr id="9" name="Rounded Rectangle 8"/>
            <p:cNvSpPr/>
            <p:nvPr>
              <p:custDataLst>
                <p:tags r:id="rId4"/>
              </p:custDataLst>
            </p:nvPr>
          </p:nvSpPr>
          <p:spPr>
            <a:xfrm>
              <a:off x="239715" y="3109513"/>
              <a:ext cx="2851016" cy="523876"/>
            </a:xfrm>
            <a:prstGeom prst="roundRect">
              <a:avLst>
                <a:gd name="adj" fmla="val 6953"/>
              </a:avLst>
            </a:prstGeom>
            <a:solidFill>
              <a:schemeClr val="bg2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indent="-342900" algn="ctr" defTabSz="914400">
                <a:lnSpc>
                  <a:spcPct val="110000"/>
                </a:lnSpc>
              </a:pPr>
              <a:r>
                <a:rPr lang="nl-NL" sz="1600" b="1" dirty="0" smtClean="0"/>
                <a:t>3. </a:t>
              </a:r>
              <a:r>
                <a:rPr lang="nl-NL" sz="1600" b="1" dirty="0"/>
                <a:t>Verduurzamen van het </a:t>
              </a:r>
              <a:r>
                <a:rPr lang="nl-NL" sz="1600" b="1" dirty="0">
                  <a:solidFill>
                    <a:schemeClr val="accent2"/>
                  </a:solidFill>
                </a:rPr>
                <a:t>grondstoffen</a:t>
              </a:r>
              <a:r>
                <a:rPr lang="nl-NL" sz="1600" b="1" dirty="0"/>
                <a:t> gebruik</a:t>
              </a:r>
            </a:p>
          </p:txBody>
        </p:sp>
        <p:sp>
          <p:nvSpPr>
            <p:cNvPr id="10" name="Rounded Rectangle 9"/>
            <p:cNvSpPr/>
            <p:nvPr>
              <p:custDataLst>
                <p:tags r:id="rId5"/>
              </p:custDataLst>
            </p:nvPr>
          </p:nvSpPr>
          <p:spPr>
            <a:xfrm>
              <a:off x="239715" y="4241799"/>
              <a:ext cx="2851016" cy="523876"/>
            </a:xfrm>
            <a:prstGeom prst="roundRect">
              <a:avLst>
                <a:gd name="adj" fmla="val 6953"/>
              </a:avLst>
            </a:prstGeom>
            <a:solidFill>
              <a:schemeClr val="bg2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lvl="1" indent="-342900" algn="ctr" defTabSz="914400">
                <a:lnSpc>
                  <a:spcPct val="110000"/>
                </a:lnSpc>
              </a:pPr>
              <a:r>
                <a:rPr lang="nl-NL" sz="1600" kern="0" dirty="0" smtClean="0">
                  <a:cs typeface="Myriad Pro"/>
                </a:rPr>
                <a:t>5</a:t>
              </a:r>
              <a:r>
                <a:rPr lang="nl-NL" sz="1600" b="1" kern="0" dirty="0" smtClean="0">
                  <a:cs typeface="Myriad Pro"/>
                </a:rPr>
                <a:t>. Stimuleren van </a:t>
              </a:r>
              <a:r>
                <a:rPr lang="nl-NL" sz="1600" b="1" kern="0" dirty="0" smtClean="0">
                  <a:solidFill>
                    <a:schemeClr val="accent2"/>
                  </a:solidFill>
                  <a:cs typeface="Myriad Pro"/>
                </a:rPr>
                <a:t>vitale</a:t>
              </a:r>
              <a:r>
                <a:rPr lang="nl-NL" sz="1600" b="1" kern="0" dirty="0" smtClean="0">
                  <a:cs typeface="Myriad Pro"/>
                </a:rPr>
                <a:t> gemeenschappen met </a:t>
              </a:r>
              <a:r>
                <a:rPr lang="nl-NL" sz="1600" b="1" kern="0" dirty="0" smtClean="0">
                  <a:solidFill>
                    <a:schemeClr val="accent2"/>
                  </a:solidFill>
                  <a:cs typeface="Myriad Pro"/>
                </a:rPr>
                <a:t>gezonde</a:t>
              </a:r>
              <a:r>
                <a:rPr lang="nl-NL" sz="1600" b="1" kern="0" dirty="0" smtClean="0">
                  <a:cs typeface="Myriad Pro"/>
                </a:rPr>
                <a:t> inwoners</a:t>
              </a:r>
              <a:endParaRPr lang="nl-NL" sz="1200" b="1" i="1" dirty="0"/>
            </a:p>
          </p:txBody>
        </p:sp>
        <p:pic>
          <p:nvPicPr>
            <p:cNvPr id="11" name="Picture 4" descr="http://www.metronieuws.nl/_internal/gxml!0/r0dc21o2f3vste5s7ezej9x3a10rp3w$h8ekgt6v1lrttne931qs7xtcz199rsm/img-291013-274.jpeg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3181372" y="3109511"/>
              <a:ext cx="1812007" cy="523876"/>
            </a:xfrm>
            <a:prstGeom prst="roundRect">
              <a:avLst>
                <a:gd name="adj" fmla="val 10433"/>
              </a:avLst>
            </a:prstGeom>
            <a:noFill/>
          </p:spPr>
        </p:pic>
        <p:pic>
          <p:nvPicPr>
            <p:cNvPr id="12" name="Picture 6" descr="http://assets.knowledge.allianz.com/img/food_waste_freegan_dump_ah_24515.jpg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3181372" y="3675657"/>
              <a:ext cx="1806117" cy="523875"/>
            </a:xfrm>
            <a:prstGeom prst="roundRect">
              <a:avLst>
                <a:gd name="adj" fmla="val 12511"/>
              </a:avLst>
            </a:prstGeom>
            <a:noFill/>
          </p:spPr>
        </p:pic>
        <p:pic>
          <p:nvPicPr>
            <p:cNvPr id="13" name="Picture 4" descr="http://www.techniekbenik.nl/sites/default/files/styles/segment_full/public/news_articles/Tuinbouw_1.jpg?itok=4haLSjIf"/>
            <p:cNvPicPr>
              <a:picLocks noChangeAspect="1" noChangeArrowheads="1"/>
            </p:cNvPicPr>
            <p:nvPr/>
          </p:nvPicPr>
          <p:blipFill>
            <a:blip r:embed="rId10"/>
            <a:srcRect t="27908" b="11581"/>
            <a:stretch>
              <a:fillRect/>
            </a:stretch>
          </p:blipFill>
          <p:spPr bwMode="auto">
            <a:xfrm>
              <a:off x="3184101" y="2531750"/>
              <a:ext cx="1812007" cy="521208"/>
            </a:xfrm>
            <a:prstGeom prst="roundRect">
              <a:avLst>
                <a:gd name="adj" fmla="val 8313"/>
              </a:avLst>
            </a:prstGeom>
            <a:noFill/>
          </p:spPr>
        </p:pic>
        <p:pic>
          <p:nvPicPr>
            <p:cNvPr id="14" name="Picture 14" descr="https://encrypted-tbn1.gstatic.com/images?q=tbn:ANd9GcSW11WmcJ-vBSeOdqrI4Ycifc2i5RAreu2_fXnRUMxvfaiFERIL">
              <a:hlinkClick r:id="rId11"/>
            </p:cNvPr>
            <p:cNvPicPr>
              <a:picLocks noChangeAspect="1" noChangeArrowheads="1"/>
            </p:cNvPicPr>
            <p:nvPr/>
          </p:nvPicPr>
          <p:blipFill>
            <a:blip r:embed="rId12"/>
            <a:srcRect t="17122" b="26870"/>
            <a:stretch>
              <a:fillRect/>
            </a:stretch>
          </p:blipFill>
          <p:spPr bwMode="auto">
            <a:xfrm>
              <a:off x="3173815" y="4241799"/>
              <a:ext cx="1821232" cy="521208"/>
            </a:xfrm>
            <a:prstGeom prst="roundRect">
              <a:avLst>
                <a:gd name="adj" fmla="val 10401"/>
              </a:avLst>
            </a:prstGeom>
            <a:noFill/>
          </p:spPr>
        </p:pic>
        <p:pic>
          <p:nvPicPr>
            <p:cNvPr id="15" name="Picture 8" descr="http://duurzaam-actueel.nl/wp-content/uploads/duurzame-euros.jpg"/>
            <p:cNvPicPr>
              <a:picLocks noChangeAspect="1" noChangeArrowheads="1"/>
            </p:cNvPicPr>
            <p:nvPr/>
          </p:nvPicPr>
          <p:blipFill>
            <a:blip r:embed="rId13"/>
            <a:srcRect t="23033"/>
            <a:stretch>
              <a:fillRect/>
            </a:stretch>
          </p:blipFill>
          <p:spPr bwMode="auto">
            <a:xfrm>
              <a:off x="3167925" y="1948243"/>
              <a:ext cx="1812007" cy="522992"/>
            </a:xfrm>
            <a:prstGeom prst="roundRect">
              <a:avLst>
                <a:gd name="adj" fmla="val 10423"/>
              </a:avLst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xmlns="" val="11625309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200" b="1" dirty="0" smtClean="0"/>
              <a:t>Sectorprognoses 2016</a:t>
            </a:r>
            <a:r>
              <a:rPr lang="nl-NL" sz="3200" dirty="0" smtClean="0"/>
              <a:t/>
            </a:r>
            <a:br>
              <a:rPr lang="nl-NL" sz="3200" dirty="0" smtClean="0"/>
            </a:br>
            <a:r>
              <a:rPr lang="nl-NL" sz="2800" dirty="0" smtClean="0"/>
              <a:t>Productiegroei in alle sectoren</a:t>
            </a:r>
            <a:endParaRPr lang="en-GB" sz="2800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1C4A5-98F2-7545-875B-39B2F4500447}" type="slidenum">
              <a:rPr lang="nl-NL" smtClean="0"/>
              <a:pPr/>
              <a:t>5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smtClean="0"/>
              <a:t>Bron: CBS, Rabobank</a:t>
            </a:r>
            <a:endParaRPr lang="nl-NL"/>
          </a:p>
        </p:txBody>
      </p:sp>
      <p:pic>
        <p:nvPicPr>
          <p:cNvPr id="1027" name="Picture 3"/>
          <p:cNvPicPr>
            <a:picLocks noGrp="1" noChangeAspect="1" noChangeArrowheads="1"/>
          </p:cNvPicPr>
          <p:nvPr>
            <p:ph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7126" y="1335881"/>
            <a:ext cx="7002398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036996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Schermopnam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9115" y="192139"/>
            <a:ext cx="7435819" cy="471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42682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56101" y="1537097"/>
            <a:ext cx="2303463" cy="257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323851" y="386953"/>
            <a:ext cx="7561263" cy="671513"/>
          </a:xfrm>
        </p:spPr>
        <p:txBody>
          <a:bodyPr/>
          <a:lstStyle/>
          <a:p>
            <a:pPr>
              <a:defRPr/>
            </a:pPr>
            <a:r>
              <a:rPr lang="en-GB" sz="2800" dirty="0" smtClean="0">
                <a:solidFill>
                  <a:schemeClr val="accent1">
                    <a:lumMod val="75000"/>
                  </a:schemeClr>
                </a:solidFill>
              </a:rPr>
              <a:t>Anders, </a:t>
            </a:r>
            <a:r>
              <a:rPr lang="en-GB" sz="2800" dirty="0" err="1" smtClean="0">
                <a:solidFill>
                  <a:schemeClr val="accent1">
                    <a:lumMod val="75000"/>
                  </a:schemeClr>
                </a:solidFill>
              </a:rPr>
              <a:t>beter</a:t>
            </a:r>
            <a:r>
              <a:rPr lang="en-GB" sz="2800" dirty="0" smtClean="0">
                <a:solidFill>
                  <a:schemeClr val="accent1">
                    <a:lumMod val="75000"/>
                  </a:schemeClr>
                </a:solidFill>
              </a:rPr>
              <a:t> of ….  </a:t>
            </a:r>
            <a:r>
              <a:rPr lang="en-GB" sz="2800" dirty="0" err="1" smtClean="0">
                <a:solidFill>
                  <a:schemeClr val="accent1">
                    <a:lumMod val="75000"/>
                  </a:schemeClr>
                </a:solidFill>
              </a:rPr>
              <a:t>goedkoper</a:t>
            </a:r>
            <a:r>
              <a:rPr lang="en-GB" sz="2800" dirty="0" smtClean="0">
                <a:solidFill>
                  <a:schemeClr val="accent3"/>
                </a:solidFill>
              </a:rPr>
              <a:t/>
            </a:r>
            <a:br>
              <a:rPr lang="en-GB" sz="2800" dirty="0" smtClean="0">
                <a:solidFill>
                  <a:schemeClr val="accent3"/>
                </a:solidFill>
              </a:rPr>
            </a:br>
            <a:endParaRPr lang="en-GB" sz="2800" dirty="0" smtClean="0">
              <a:solidFill>
                <a:schemeClr val="accent3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8313" y="1168004"/>
            <a:ext cx="1727200" cy="338544"/>
          </a:xfrm>
          <a:prstGeom prst="rect">
            <a:avLst/>
          </a:prstGeom>
          <a:noFill/>
        </p:spPr>
        <p:txBody>
          <a:bodyPr lIns="91430" tIns="45715" rIns="91430" bIns="45715">
            <a:spAutoFit/>
          </a:bodyPr>
          <a:lstStyle/>
          <a:p>
            <a:pPr>
              <a:defRPr/>
            </a:pPr>
            <a:r>
              <a:rPr lang="en-GB" sz="1600" i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Breed different</a:t>
            </a:r>
          </a:p>
        </p:txBody>
      </p:sp>
      <p:grpSp>
        <p:nvGrpSpPr>
          <p:cNvPr id="78853" name="Group 20"/>
          <p:cNvGrpSpPr>
            <a:grpSpLocks/>
          </p:cNvGrpSpPr>
          <p:nvPr/>
        </p:nvGrpSpPr>
        <p:grpSpPr bwMode="auto">
          <a:xfrm>
            <a:off x="323851" y="1527573"/>
            <a:ext cx="2016125" cy="2591990"/>
            <a:chOff x="323528" y="1851670"/>
            <a:chExt cx="2016224" cy="2592288"/>
          </a:xfrm>
        </p:grpSpPr>
        <p:pic>
          <p:nvPicPr>
            <p:cNvPr id="78867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7148" t="8894" r="23073"/>
            <a:stretch>
              <a:fillRect/>
            </a:stretch>
          </p:blipFill>
          <p:spPr bwMode="auto">
            <a:xfrm>
              <a:off x="323528" y="1851670"/>
              <a:ext cx="2016224" cy="2592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394970" y="1904064"/>
              <a:ext cx="1368492" cy="27703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GB" sz="1200" b="1" dirty="0">
                  <a:latin typeface="+mn-lt"/>
                </a:rPr>
                <a:t>genetics</a:t>
              </a: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484438" y="1168004"/>
            <a:ext cx="1727200" cy="338544"/>
          </a:xfrm>
          <a:prstGeom prst="rect">
            <a:avLst/>
          </a:prstGeom>
          <a:noFill/>
        </p:spPr>
        <p:txBody>
          <a:bodyPr lIns="91430" tIns="45715" rIns="91430" bIns="45715">
            <a:spAutoFit/>
          </a:bodyPr>
          <a:lstStyle/>
          <a:p>
            <a:pPr>
              <a:defRPr/>
            </a:pPr>
            <a:r>
              <a:rPr lang="en-GB" sz="1600" i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Farm different</a:t>
            </a:r>
          </a:p>
        </p:txBody>
      </p:sp>
      <p:grpSp>
        <p:nvGrpSpPr>
          <p:cNvPr id="78855" name="Group 21"/>
          <p:cNvGrpSpPr>
            <a:grpSpLocks/>
          </p:cNvGrpSpPr>
          <p:nvPr/>
        </p:nvGrpSpPr>
        <p:grpSpPr bwMode="auto">
          <a:xfrm>
            <a:off x="2411414" y="1527573"/>
            <a:ext cx="1944687" cy="2591990"/>
            <a:chOff x="2411760" y="1851670"/>
            <a:chExt cx="1944216" cy="2592288"/>
          </a:xfrm>
        </p:grpSpPr>
        <p:pic>
          <p:nvPicPr>
            <p:cNvPr id="78865" name="Picture 6" descr="http://www.unitedsoybean.org/wp-content/uploads/UAV-precision-agriculture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432" t="15750" r="3909" b="250"/>
            <a:stretch>
              <a:fillRect/>
            </a:stretch>
          </p:blipFill>
          <p:spPr bwMode="auto">
            <a:xfrm>
              <a:off x="2411760" y="1851670"/>
              <a:ext cx="1944216" cy="2592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/>
            <p:cNvSpPr txBox="1"/>
            <p:nvPr/>
          </p:nvSpPr>
          <p:spPr>
            <a:xfrm>
              <a:off x="2483180" y="3867629"/>
              <a:ext cx="1801377" cy="46171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GB" sz="1200" b="1" dirty="0">
                  <a:solidFill>
                    <a:schemeClr val="bg1"/>
                  </a:solidFill>
                  <a:latin typeface="+mn-lt"/>
                </a:rPr>
                <a:t>Big Data </a:t>
              </a:r>
            </a:p>
            <a:p>
              <a:pPr algn="ctr">
                <a:defRPr/>
              </a:pPr>
              <a:r>
                <a:rPr lang="en-GB" sz="1200" b="1" dirty="0">
                  <a:solidFill>
                    <a:schemeClr val="bg1"/>
                  </a:solidFill>
                  <a:latin typeface="+mn-lt"/>
                </a:rPr>
                <a:t>Precision Farming</a:t>
              </a: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4643439" y="1168004"/>
            <a:ext cx="1728787" cy="338544"/>
          </a:xfrm>
          <a:prstGeom prst="rect">
            <a:avLst/>
          </a:prstGeom>
          <a:noFill/>
        </p:spPr>
        <p:txBody>
          <a:bodyPr lIns="91430" tIns="45715" rIns="91430" bIns="45715">
            <a:spAutoFit/>
          </a:bodyPr>
          <a:lstStyle/>
          <a:p>
            <a:pPr>
              <a:defRPr/>
            </a:pPr>
            <a:r>
              <a:rPr lang="en-GB" sz="1600" i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Eat different?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875463" y="1168004"/>
            <a:ext cx="1873250" cy="338544"/>
          </a:xfrm>
          <a:prstGeom prst="rect">
            <a:avLst/>
          </a:prstGeom>
          <a:noFill/>
        </p:spPr>
        <p:txBody>
          <a:bodyPr lIns="91430" tIns="45715" rIns="91430" bIns="45715">
            <a:spAutoFit/>
          </a:bodyPr>
          <a:lstStyle/>
          <a:p>
            <a:pPr>
              <a:defRPr/>
            </a:pPr>
            <a:r>
              <a:rPr lang="en-GB" sz="1600" i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Think different?</a:t>
            </a:r>
          </a:p>
        </p:txBody>
      </p:sp>
      <p:grpSp>
        <p:nvGrpSpPr>
          <p:cNvPr id="78858" name="Group 22"/>
          <p:cNvGrpSpPr>
            <a:grpSpLocks/>
          </p:cNvGrpSpPr>
          <p:nvPr/>
        </p:nvGrpSpPr>
        <p:grpSpPr bwMode="auto">
          <a:xfrm>
            <a:off x="6732589" y="1527573"/>
            <a:ext cx="2162175" cy="2591990"/>
            <a:chOff x="6732240" y="1851670"/>
            <a:chExt cx="2162282" cy="2592287"/>
          </a:xfrm>
        </p:grpSpPr>
        <p:pic>
          <p:nvPicPr>
            <p:cNvPr id="78863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3826" r="11427"/>
            <a:stretch>
              <a:fillRect/>
            </a:stretch>
          </p:blipFill>
          <p:spPr bwMode="auto">
            <a:xfrm>
              <a:off x="6732240" y="1851670"/>
              <a:ext cx="2162282" cy="2592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6948151" y="4023619"/>
              <a:ext cx="1800314" cy="307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GB" sz="1400" b="1" dirty="0">
                  <a:solidFill>
                    <a:schemeClr val="bg1"/>
                  </a:solidFill>
                  <a:latin typeface="+mn-lt"/>
                </a:rPr>
                <a:t>Virtual Far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886413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1_4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  <p:sp>
        <p:nvSpPr>
          <p:cNvPr id="2" name="Rechthoek 1"/>
          <p:cNvSpPr/>
          <p:nvPr/>
        </p:nvSpPr>
        <p:spPr>
          <a:xfrm>
            <a:off x="1" y="3411487"/>
            <a:ext cx="9144000" cy="17320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 smtClean="0">
              <a:solidFill>
                <a:srgbClr val="000000"/>
              </a:solidFill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5892801" y="3428327"/>
            <a:ext cx="194334" cy="409137"/>
          </a:xfrm>
          <a:prstGeom prst="rect">
            <a:avLst/>
          </a:prstGeom>
          <a:solidFill>
            <a:srgbClr val="FF4D00"/>
          </a:solidFill>
          <a:ln w="190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36000" rIns="9144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Regular"/>
              <a:ea typeface="+mn-ea"/>
              <a:cs typeface="MyriadRegular"/>
            </a:endParaRPr>
          </a:p>
        </p:txBody>
      </p:sp>
      <p:sp>
        <p:nvSpPr>
          <p:cNvPr id="7" name="Ondertitel 6"/>
          <p:cNvSpPr>
            <a:spLocks noGrp="1"/>
          </p:cNvSpPr>
          <p:nvPr>
            <p:ph type="subTitle" idx="1"/>
          </p:nvPr>
        </p:nvSpPr>
        <p:spPr>
          <a:xfrm>
            <a:off x="2019310" y="3428327"/>
            <a:ext cx="4067825" cy="765042"/>
          </a:xfrm>
        </p:spPr>
        <p:txBody>
          <a:bodyPr anchor="ctr"/>
          <a:lstStyle/>
          <a:p>
            <a:r>
              <a:rPr lang="en-US" sz="2200" b="0" i="0" dirty="0" err="1" smtClean="0">
                <a:latin typeface="Myriad-Italic"/>
                <a:cs typeface="Myriad-Italic"/>
              </a:rPr>
              <a:t>Samen</a:t>
            </a:r>
            <a:r>
              <a:rPr lang="en-US" sz="2200" b="0" i="0" dirty="0" smtClean="0">
                <a:latin typeface="Myriad-Italic"/>
                <a:cs typeface="Myriad-Italic"/>
              </a:rPr>
              <a:t> </a:t>
            </a:r>
            <a:r>
              <a:rPr lang="en-US" sz="2200" b="0" i="0" dirty="0" err="1" smtClean="0">
                <a:latin typeface="Myriad-Italic"/>
                <a:cs typeface="Myriad-Italic"/>
              </a:rPr>
              <a:t>sterker</a:t>
            </a:r>
            <a:endParaRPr lang="nl-NL" sz="2200" b="0" i="0" dirty="0">
              <a:latin typeface="Myriad-Italic"/>
              <a:cs typeface="Myriad-Italic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-119529" y="2571750"/>
            <a:ext cx="6214330" cy="848837"/>
          </a:xfrm>
          <a:solidFill>
            <a:schemeClr val="tx2"/>
          </a:solidFill>
        </p:spPr>
        <p:txBody>
          <a:bodyPr/>
          <a:lstStyle/>
          <a:p>
            <a:pPr algn="l"/>
            <a:r>
              <a:rPr lang="nl-NL" sz="3200" dirty="0" smtClean="0">
                <a:cs typeface="MyriadLight"/>
              </a:rPr>
              <a:t>Dank voor uw aandacht</a:t>
            </a:r>
            <a:endParaRPr lang="nl-NL" sz="3200" dirty="0">
              <a:cs typeface="MyriadLight"/>
            </a:endParaRPr>
          </a:p>
        </p:txBody>
      </p:sp>
      <p:pic>
        <p:nvPicPr>
          <p:cNvPr id="11" name="Afbeelding 10" descr="RB_logo_rgb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524328" y="3579862"/>
            <a:ext cx="1259631" cy="145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650385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9084321721765c1e78434b475a698ad93964e1a"/>
  <p:tag name="ISPRING_RESOURCE_PATHS_HASH_2" val="c3f317ba7b5e1a6a7f1f4f2869da9f284492f9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UlI2Fah0.PZt_xXhB.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UlI2Fah0.PZt_xXhB.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UlI2Fah0.PZt_xXhB.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UlI2Fah0.PZt_xXhB.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UlI2Fah0.PZt_xXhB.zg"/>
</p:tagLst>
</file>

<file path=ppt/theme/theme1.xml><?xml version="1.0" encoding="utf-8"?>
<a:theme xmlns:a="http://schemas.openxmlformats.org/drawingml/2006/main" name="Sjabloon Powerpointpresentatie 16x9    PER 11 DECEMBER 2013">
  <a:themeElements>
    <a:clrScheme name="Aangepast 7">
      <a:dk1>
        <a:sysClr val="windowText" lastClr="000000"/>
      </a:dk1>
      <a:lt1>
        <a:sysClr val="window" lastClr="FFFFFF"/>
      </a:lt1>
      <a:dk2>
        <a:srgbClr val="000099"/>
      </a:dk2>
      <a:lt2>
        <a:srgbClr val="EAEAEA"/>
      </a:lt2>
      <a:accent1>
        <a:srgbClr val="000099"/>
      </a:accent1>
      <a:accent2>
        <a:srgbClr val="FF6600"/>
      </a:accent2>
      <a:accent3>
        <a:srgbClr val="739ABC"/>
      </a:accent3>
      <a:accent4>
        <a:srgbClr val="BF2296"/>
      </a:accent4>
      <a:accent5>
        <a:srgbClr val="83B93B"/>
      </a:accent5>
      <a:accent6>
        <a:srgbClr val="C0C0C0"/>
      </a:accent6>
      <a:hlink>
        <a:srgbClr val="000099"/>
      </a:hlink>
      <a:folHlink>
        <a:srgbClr val="4B92DB"/>
      </a:folHlink>
    </a:clrScheme>
    <a:fontScheme name="Rabobank Corbel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 cap="flat" cmpd="sng" algn="ctr">
          <a:noFill/>
          <a:prstDash val="solid"/>
        </a:ln>
        <a:effectLst/>
      </a:spPr>
      <a:bodyPr rot="0" spcFirstLastPara="0" vertOverflow="overflow" horzOverflow="overflow" vert="horz" wrap="square" lIns="72000" tIns="90000" rIns="7200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1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ea typeface="+mn-ea"/>
            <a:cs typeface="Myriad Pro"/>
          </a:defRPr>
        </a:defPPr>
      </a:lstStyle>
    </a:spDef>
    <a:lnDef>
      <a:spPr>
        <a:ln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 anchor="t" anchorCtr="0">
        <a:spAutoFit/>
      </a:bodyPr>
      <a:lstStyle>
        <a:defPPr algn="ctr">
          <a:defRPr sz="160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jabloon Powerpointpresentatie 16x9    PER 11 DECEMBER 2013</Template>
  <TotalTime>3474</TotalTime>
  <Words>131</Words>
  <Application>Microsoft Office PowerPoint</Application>
  <PresentationFormat>Diavoorstelling (16:9)</PresentationFormat>
  <Paragraphs>45</Paragraphs>
  <Slides>8</Slides>
  <Notes>6</Notes>
  <HiddenSlides>0</HiddenSlides>
  <MMClips>0</MMClips>
  <ScaleCrop>false</ScaleCrop>
  <HeadingPairs>
    <vt:vector size="4" baseType="variant">
      <vt:variant>
        <vt:lpstr>Thema</vt:lpstr>
      </vt:variant>
      <vt:variant>
        <vt:i4>1</vt:i4>
      </vt:variant>
      <vt:variant>
        <vt:lpstr>Diatitels</vt:lpstr>
      </vt:variant>
      <vt:variant>
        <vt:i4>8</vt:i4>
      </vt:variant>
    </vt:vector>
  </HeadingPairs>
  <TitlesOfParts>
    <vt:vector size="9" baseType="lpstr">
      <vt:lpstr>Sjabloon Powerpointpresentatie 16x9    PER 11 DECEMBER 2013</vt:lpstr>
      <vt:lpstr>Internationaal ondernemen</vt:lpstr>
      <vt:lpstr>Huidig beeld NL agrarische sector </vt:lpstr>
      <vt:lpstr>Trends in mondiale voedselproductie</vt:lpstr>
      <vt:lpstr>Essentiële thema’s voor  NL</vt:lpstr>
      <vt:lpstr>Sectorprognoses 2016 Productiegroei in alle sectoren</vt:lpstr>
      <vt:lpstr>Dia 6</vt:lpstr>
      <vt:lpstr>Anders, beter of ….  goedkoper </vt:lpstr>
      <vt:lpstr>Dank voor uw aandacht</vt:lpstr>
    </vt:vector>
  </TitlesOfParts>
  <Manager>Edwin Wibbelink</Manager>
  <Company>Rabobank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derlandse Food&amp;Agri:  nationale trots</dc:title>
  <dc:subject>16x9 formaat</dc:subject>
  <dc:creator>Ververs, B (Bertus)</dc:creator>
  <cp:lastModifiedBy>Gonneke</cp:lastModifiedBy>
  <cp:revision>87</cp:revision>
  <cp:lastPrinted>2015-06-29T07:10:16Z</cp:lastPrinted>
  <dcterms:created xsi:type="dcterms:W3CDTF">2015-06-17T09:04:52Z</dcterms:created>
  <dcterms:modified xsi:type="dcterms:W3CDTF">2015-11-18T15:38:48Z</dcterms:modified>
  <cp:category>Powerpoint</cp:category>
  <cp:version>2.1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mbMenu2">
    <vt:lpwstr>Eerste hoofdstuk</vt:lpwstr>
  </property>
  <property fmtid="{D5CDD505-2E9C-101B-9397-08002B2CF9AE}" pid="3" name="cmbMenu3">
    <vt:lpwstr>Tweede hoofdstuk</vt:lpwstr>
  </property>
  <property fmtid="{D5CDD505-2E9C-101B-9397-08002B2CF9AE}" pid="4" name="cmbMenu4">
    <vt:lpwstr>Derde hoofdstuk</vt:lpwstr>
  </property>
  <property fmtid="{D5CDD505-2E9C-101B-9397-08002B2CF9AE}" pid="5" name="cmbMenu5">
    <vt:lpwstr>Vierde hoofdstuk</vt:lpwstr>
  </property>
  <property fmtid="{D5CDD505-2E9C-101B-9397-08002B2CF9AE}" pid="6" name="cmbMenu6">
    <vt:lpwstr>Vijfde hoofdstuk</vt:lpwstr>
  </property>
  <property fmtid="{D5CDD505-2E9C-101B-9397-08002B2CF9AE}" pid="7" name="cmbMenu7">
    <vt:lpwstr>Samenvatting</vt:lpwstr>
  </property>
  <property fmtid="{D5CDD505-2E9C-101B-9397-08002B2CF9AE}" pid="8" name="txtPag1">
    <vt:lpwstr>12</vt:lpwstr>
  </property>
  <property fmtid="{D5CDD505-2E9C-101B-9397-08002B2CF9AE}" pid="9" name="txtPag2">
    <vt:lpwstr>13</vt:lpwstr>
  </property>
  <property fmtid="{D5CDD505-2E9C-101B-9397-08002B2CF9AE}" pid="10" name="txtPag3">
    <vt:lpwstr>14</vt:lpwstr>
  </property>
  <property fmtid="{D5CDD505-2E9C-101B-9397-08002B2CF9AE}" pid="11" name="txtPag4">
    <vt:lpwstr>15</vt:lpwstr>
  </property>
  <property fmtid="{D5CDD505-2E9C-101B-9397-08002B2CF9AE}" pid="12" name="txtPag6">
    <vt:lpwstr>17</vt:lpwstr>
  </property>
  <property fmtid="{D5CDD505-2E9C-101B-9397-08002B2CF9AE}" pid="13" name="txtPag7">
    <vt:lpwstr>18</vt:lpwstr>
  </property>
  <property fmtid="{D5CDD505-2E9C-101B-9397-08002B2CF9AE}" pid="14" name="txtPag8">
    <vt:lpwstr>19</vt:lpwstr>
  </property>
  <property fmtid="{D5CDD505-2E9C-101B-9397-08002B2CF9AE}" pid="15" name="imgIcoon2">
    <vt:lpwstr>P:\PPTdesign\0pdrachtgevers\Rabobank Nederland\De PPT Templates\Iconen\Icon1.bmp</vt:lpwstr>
  </property>
  <property fmtid="{D5CDD505-2E9C-101B-9397-08002B2CF9AE}" pid="16" name="imgIcoon3">
    <vt:lpwstr>P:\PPTdesign\0pdrachtgevers\Rabobank Nederland\De PPT Templates\Iconen\Icon2.bmp</vt:lpwstr>
  </property>
  <property fmtid="{D5CDD505-2E9C-101B-9397-08002B2CF9AE}" pid="17" name="imgIcoon4">
    <vt:lpwstr>P:\PPTdesign\0pdrachtgevers\Rabobank Nederland\De PPT Templates\Iconen\Icon3.bmp</vt:lpwstr>
  </property>
  <property fmtid="{D5CDD505-2E9C-101B-9397-08002B2CF9AE}" pid="18" name="imgIcoon5">
    <vt:lpwstr>P:\PPTdesign\0pdrachtgevers\Rabobank Nederland\De PPT Templates\Iconen\Icon4.bmp</vt:lpwstr>
  </property>
  <property fmtid="{D5CDD505-2E9C-101B-9397-08002B2CF9AE}" pid="19" name="imgIcoon6">
    <vt:lpwstr>P:\PPTdesign\0pdrachtgevers\Rabobank Nederland\De PPT Templates\Iconen\Icon5.bmp</vt:lpwstr>
  </property>
  <property fmtid="{D5CDD505-2E9C-101B-9397-08002B2CF9AE}" pid="20" name="imgIcoon7">
    <vt:lpwstr>P:\PPTdesign\0pdrachtgevers\Rabobank Nederland\De PPT Templates\Iconen\Icon29.bmp</vt:lpwstr>
  </property>
  <property fmtid="{D5CDD505-2E9C-101B-9397-08002B2CF9AE}" pid="21" name="imgIcoon8">
    <vt:lpwstr>P:\PPTdesign\0pdrachtgevers\Rabobank Nederland\De PPT Templates\Iconen\Icon15.bmp</vt:lpwstr>
  </property>
  <property fmtid="{D5CDD505-2E9C-101B-9397-08002B2CF9AE}" pid="22" name="txtPag5">
    <vt:lpwstr>16</vt:lpwstr>
  </property>
  <property fmtid="{D5CDD505-2E9C-101B-9397-08002B2CF9AE}" pid="23" name="imgIcoon9">
    <vt:lpwstr>P:\PPTdesign\0pdrachtgevers\Rabobank Nederland\De PPT Templates\Iconen\Icon12.bmp</vt:lpwstr>
  </property>
  <property fmtid="{D5CDD505-2E9C-101B-9397-08002B2CF9AE}" pid="24" name="txtPag9">
    <vt:lpwstr>20</vt:lpwstr>
  </property>
  <property fmtid="{D5CDD505-2E9C-101B-9397-08002B2CF9AE}" pid="25" name="cmbMenu8">
    <vt:lpwstr>Afsluiting</vt:lpwstr>
  </property>
  <property fmtid="{D5CDD505-2E9C-101B-9397-08002B2CF9AE}" pid="26" name="cmbMenu1">
    <vt:lpwstr>Inleiding</vt:lpwstr>
  </property>
  <property fmtid="{D5CDD505-2E9C-101B-9397-08002B2CF9AE}" pid="27" name="imgIcoon1">
    <vt:lpwstr>P:\PPTdesign\0pdrachtgevers\Rabobank Nederland\De PPT Templates\Iconen\Icon30.bmp</vt:lpwstr>
  </property>
  <property fmtid="{D5CDD505-2E9C-101B-9397-08002B2CF9AE}" pid="28" name="cmbMenu9">
    <vt:lpwstr>Test</vt:lpwstr>
  </property>
  <property fmtid="{D5CDD505-2E9C-101B-9397-08002B2CF9AE}" pid="29" name="nieuw">
    <vt:lpwstr>nee</vt:lpwstr>
  </property>
</Properties>
</file>